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311" r:id="rId2"/>
    <p:sldId id="333" r:id="rId3"/>
    <p:sldId id="337" r:id="rId4"/>
    <p:sldId id="349" r:id="rId5"/>
    <p:sldId id="334" r:id="rId6"/>
    <p:sldId id="335" r:id="rId7"/>
    <p:sldId id="336" r:id="rId8"/>
    <p:sldId id="342" r:id="rId9"/>
    <p:sldId id="346" r:id="rId10"/>
    <p:sldId id="348" r:id="rId11"/>
    <p:sldId id="338" r:id="rId12"/>
  </p:sldIdLst>
  <p:sldSz cx="12192000" cy="6858000"/>
  <p:notesSz cx="6797675" cy="9928225"/>
  <p:custDataLst>
    <p:tags r:id="rId1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0361445D-50C7-405D-9255-3A6FBF19C764}">
          <p14:sldIdLst>
            <p14:sldId id="311"/>
            <p14:sldId id="333"/>
            <p14:sldId id="337"/>
            <p14:sldId id="349"/>
            <p14:sldId id="334"/>
            <p14:sldId id="335"/>
            <p14:sldId id="336"/>
            <p14:sldId id="342"/>
            <p14:sldId id="346"/>
            <p14:sldId id="348"/>
            <p14:sldId id="338"/>
          </p14:sldIdLst>
        </p14:section>
        <p14:section name="DELETE ME" id="{C5D81190-2505-4353-9073-9350208AC513}">
          <p14:sldIdLst/>
        </p14:section>
      </p14:sectionLst>
    </p:ext>
    <p:ext uri="{EFAFB233-063F-42B5-8137-9DF3F51BA10A}">
      <p15:sldGuideLst xmlns:p15="http://schemas.microsoft.com/office/powerpoint/2012/main" xmlns="">
        <p15:guide id="2" orient="horz" pos="3906" userDrawn="1">
          <p15:clr>
            <a:srgbClr val="A4A3A4"/>
          </p15:clr>
        </p15:guide>
        <p15:guide id="3" pos="211" userDrawn="1">
          <p15:clr>
            <a:srgbClr val="A4A3A4"/>
          </p15:clr>
        </p15:guide>
        <p15:guide id="4" pos="7469" userDrawn="1">
          <p15:clr>
            <a:srgbClr val="A4A3A4"/>
          </p15:clr>
        </p15:guide>
        <p15:guide id="5" orient="horz" pos="799" userDrawn="1">
          <p15:clr>
            <a:srgbClr val="A4A3A4"/>
          </p15:clr>
        </p15:guide>
        <p15:guide id="6" pos="3727" userDrawn="1">
          <p15:clr>
            <a:srgbClr val="A4A3A4"/>
          </p15:clr>
        </p15:guide>
        <p15:guide id="7" pos="395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/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240" autoAdjust="0"/>
    <p:restoredTop sz="77800" autoAdjust="0"/>
  </p:normalViewPr>
  <p:slideViewPr>
    <p:cSldViewPr showGuides="1">
      <p:cViewPr varScale="1">
        <p:scale>
          <a:sx n="103" d="100"/>
          <a:sy n="103" d="100"/>
        </p:scale>
        <p:origin x="-1062" y="-102"/>
      </p:cViewPr>
      <p:guideLst>
        <p:guide orient="horz" pos="3906"/>
        <p:guide orient="horz" pos="799"/>
        <p:guide pos="212"/>
        <p:guide pos="7468"/>
        <p:guide pos="3726"/>
        <p:guide pos="3954"/>
      </p:guideLst>
    </p:cSldViewPr>
  </p:slideViewPr>
  <p:outlineViewPr>
    <p:cViewPr>
      <p:scale>
        <a:sx n="33" d="100"/>
        <a:sy n="33" d="100"/>
      </p:scale>
      <p:origin x="0" y="-174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78" d="100"/>
          <a:sy n="78" d="100"/>
        </p:scale>
        <p:origin x="3978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liennummernplatzhalter 6"/>
          <p:cNvSpPr>
            <a:spLocks noGrp="1"/>
          </p:cNvSpPr>
          <p:nvPr>
            <p:ph type="sldNum" sz="quarter" idx="3"/>
          </p:nvPr>
        </p:nvSpPr>
        <p:spPr>
          <a:xfrm>
            <a:off x="5940833" y="9493804"/>
            <a:ext cx="554610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accent1"/>
                </a:solidFill>
              </a:defRPr>
            </a:lvl1pPr>
          </a:lstStyle>
          <a:p>
            <a:fld id="{642180C0-F30B-437A-ACD7-66ED1D01E5B1}" type="slidenum">
              <a:rPr lang="en-US" smtClean="0">
                <a:latin typeface="Arial" panose="020B0604020202020204" pitchFamily="34" charset="0"/>
              </a:rPr>
              <a:pPr/>
              <a:t>‹Nr.›</a:t>
            </a:fld>
            <a:endParaRPr lang="en-US" dirty="0">
              <a:latin typeface="Arial" panose="020B0604020202020204" pitchFamily="34" charset="0"/>
            </a:endParaRPr>
          </a:p>
        </p:txBody>
      </p:sp>
      <p:grpSp>
        <p:nvGrpSpPr>
          <p:cNvPr id="7" name="Gruppieren 6"/>
          <p:cNvGrpSpPr>
            <a:grpSpLocks noChangeAspect="1"/>
          </p:cNvGrpSpPr>
          <p:nvPr/>
        </p:nvGrpSpPr>
        <p:grpSpPr bwMode="gray">
          <a:xfrm>
            <a:off x="286490" y="9381491"/>
            <a:ext cx="536801" cy="234525"/>
            <a:chOff x="323850" y="6294680"/>
            <a:chExt cx="823913" cy="328613"/>
          </a:xfrm>
        </p:grpSpPr>
        <p:sp>
          <p:nvSpPr>
            <p:cNvPr id="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35457681"/>
      </p:ext>
    </p:extLst>
  </p:cSld>
  <p:clrMap bg1="lt1" tx1="dk1" bg2="lt2" tx2="dk2" accent1="accent1" accent2="accent2" accent3="accent3" accent4="accent4" accent5="accent5" accent6="accent6" hlink="hlink" folHlink="folHlink"/>
  <p:extLst mod="1">
    <p:ext uri="{56416CCD-93CA-4268-BC5B-53C4BB910035}">
      <p15:sldGuideLst xmlns:p15="http://schemas.microsoft.com/office/powerpoint/2012/main" xmlns="">
        <p15:guide id="1" pos="179" userDrawn="1">
          <p15:clr>
            <a:srgbClr val="F26B43"/>
          </p15:clr>
        </p15:guide>
        <p15:guide id="2" pos="4091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40833" y="9493804"/>
            <a:ext cx="554610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accent1"/>
                </a:solidFill>
                <a:latin typeface="Arial" panose="020B0604020202020204" pitchFamily="34" charset="0"/>
              </a:defRPr>
            </a:lvl1pPr>
          </a:lstStyle>
          <a:p>
            <a:fld id="{642180C0-F30B-437A-ACD7-66ED1D01E5B1}" type="slidenum">
              <a:rPr lang="en-US" smtClean="0"/>
              <a:pPr/>
              <a:t>‹Nr.›</a:t>
            </a:fld>
            <a:endParaRPr lang="en-US" dirty="0"/>
          </a:p>
        </p:txBody>
      </p:sp>
      <p:grpSp>
        <p:nvGrpSpPr>
          <p:cNvPr id="8" name="Gruppieren 7"/>
          <p:cNvGrpSpPr>
            <a:grpSpLocks noChangeAspect="1"/>
          </p:cNvGrpSpPr>
          <p:nvPr/>
        </p:nvGrpSpPr>
        <p:grpSpPr bwMode="gray">
          <a:xfrm>
            <a:off x="286490" y="9381491"/>
            <a:ext cx="536801" cy="234525"/>
            <a:chOff x="323850" y="6294680"/>
            <a:chExt cx="823913" cy="328613"/>
          </a:xfrm>
        </p:grpSpPr>
        <p:sp>
          <p:nvSpPr>
            <p:cNvPr id="9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0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1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2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  <p:sp>
          <p:nvSpPr>
            <p:cNvPr id="13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87874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lnSpc>
        <a:spcPct val="104000"/>
      </a:lnSpc>
      <a:spcBef>
        <a:spcPts val="1200"/>
      </a:spcBef>
      <a:defRPr sz="12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0" indent="0" algn="l" defTabSz="914400" rtl="0" eaLnBrk="1" latinLnBrk="0" hangingPunct="1">
      <a:lnSpc>
        <a:spcPct val="104000"/>
      </a:lnSpc>
      <a:spcBef>
        <a:spcPts val="800"/>
      </a:spcBef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44000" indent="-144000" algn="l" defTabSz="914400" rtl="0" eaLnBrk="1" latinLnBrk="0" hangingPunct="1">
      <a:lnSpc>
        <a:spcPct val="104000"/>
      </a:lnSpc>
      <a:spcBef>
        <a:spcPts val="600"/>
      </a:spcBef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288000" indent="-144000" algn="l" defTabSz="914400" rtl="0" eaLnBrk="1" latinLnBrk="0" hangingPunct="1">
      <a:lnSpc>
        <a:spcPct val="104000"/>
      </a:lnSpc>
      <a:spcBef>
        <a:spcPts val="300"/>
      </a:spcBef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432000" indent="-144000" algn="l" defTabSz="914400" rtl="0" eaLnBrk="1" latinLnBrk="0" hangingPunct="1">
      <a:lnSpc>
        <a:spcPct val="104000"/>
      </a:lnSpc>
      <a:spcBef>
        <a:spcPts val="300"/>
      </a:spcBef>
      <a:buFont typeface="Wingdings" panose="05000000000000000000" pitchFamily="2" charset="2"/>
      <a:buChar char="§"/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:p15="http://schemas.microsoft.com/office/powerpoint/2012/main" xmlns="">
        <p15:guide id="1" pos="179" userDrawn="1">
          <p15:clr>
            <a:srgbClr val="F26B43"/>
          </p15:clr>
        </p15:guide>
        <p15:guide id="3" pos="4091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684011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Endpunkt:</a:t>
            </a:r>
            <a:r>
              <a:rPr lang="de-DE" baseline="0" dirty="0" smtClean="0"/>
              <a:t> Wo sich die IT als Werkzeug der Vermittler sieht in Zukunft sieht. </a:t>
            </a:r>
          </a:p>
          <a:p>
            <a:r>
              <a:rPr lang="de-DE" baseline="0" dirty="0" smtClean="0"/>
              <a:t>Wichtig: IT nicht als Arbeitsplatz-Gefährdung, sondern bewusst als Enabler für neue Märkte und einfacheren Vertrieb.</a:t>
            </a:r>
          </a:p>
          <a:p>
            <a:endParaRPr lang="de-DE" baseline="0" dirty="0" smtClean="0"/>
          </a:p>
          <a:p>
            <a:r>
              <a:rPr lang="de-DE" baseline="0" dirty="0" smtClean="0"/>
              <a:t>Jedes Icon steht für einen Aspekt der IT als </a:t>
            </a:r>
            <a:r>
              <a:rPr lang="de-DE" baseline="0" dirty="0" err="1" smtClean="0"/>
              <a:t>Wekrzeug</a:t>
            </a:r>
            <a:r>
              <a:rPr lang="de-DE" baseline="0" dirty="0" smtClean="0"/>
              <a:t> (blau: technische Voraussetzung; grün: fachlicher Mehrwert für Vertrieb)</a:t>
            </a:r>
          </a:p>
          <a:p>
            <a:pPr marL="171450" indent="-171450">
              <a:buFontTx/>
              <a:buChar char="-"/>
            </a:pPr>
            <a:r>
              <a:rPr lang="de-DE" baseline="0" dirty="0" smtClean="0"/>
              <a:t>Blaue Icons als technische Enabler:</a:t>
            </a:r>
          </a:p>
          <a:p>
            <a:pPr marL="315450" lvl="2" indent="-171450">
              <a:buFontTx/>
              <a:buChar char="-"/>
            </a:pPr>
            <a:r>
              <a:rPr lang="de-DE" baseline="0" dirty="0" smtClean="0"/>
              <a:t>Schnellere Prozesse</a:t>
            </a:r>
          </a:p>
          <a:p>
            <a:pPr marL="315450" lvl="2" indent="-171450">
              <a:buFontTx/>
              <a:buChar char="-"/>
            </a:pPr>
            <a:r>
              <a:rPr lang="de-DE" baseline="0" dirty="0" smtClean="0"/>
              <a:t>Intelligente Serverfarmen</a:t>
            </a:r>
          </a:p>
          <a:p>
            <a:pPr marL="315450" lvl="2" indent="-171450">
              <a:buFontTx/>
              <a:buChar char="-"/>
            </a:pPr>
            <a:r>
              <a:rPr lang="de-DE" baseline="0" dirty="0" smtClean="0"/>
              <a:t>Cloud als Unterstützung für skalierende </a:t>
            </a:r>
            <a:r>
              <a:rPr lang="de-DE" baseline="0" dirty="0" err="1" smtClean="0"/>
              <a:t>Applicationen</a:t>
            </a:r>
            <a:endParaRPr lang="de-DE" baseline="0" dirty="0" smtClean="0"/>
          </a:p>
          <a:p>
            <a:pPr marL="315450" lvl="2" indent="-171450">
              <a:buFontTx/>
              <a:buChar char="-"/>
            </a:pPr>
            <a:r>
              <a:rPr lang="de-DE" baseline="0" dirty="0" smtClean="0"/>
              <a:t>IT als „Getriebe“ der Fachlichkeit</a:t>
            </a:r>
          </a:p>
          <a:p>
            <a:pPr marL="144000" lvl="2" indent="0">
              <a:buFontTx/>
              <a:buNone/>
            </a:pPr>
            <a:endParaRPr lang="de-DE" baseline="0" dirty="0" smtClean="0"/>
          </a:p>
          <a:p>
            <a:pPr marL="171450" lvl="0" indent="-171450">
              <a:buFontTx/>
              <a:buChar char="-"/>
            </a:pPr>
            <a:r>
              <a:rPr lang="de-DE" baseline="0" dirty="0" smtClean="0"/>
              <a:t>Grüne Icons als Auswirkungen der IT auf fachliche Vertriebsprozesse:</a:t>
            </a:r>
          </a:p>
          <a:p>
            <a:pPr marL="315450" lvl="2" indent="-171450">
              <a:buFontTx/>
              <a:buChar char="-"/>
            </a:pPr>
            <a:r>
              <a:rPr lang="de-DE" baseline="0" dirty="0" smtClean="0"/>
              <a:t>Besseres und einfacheres Networking</a:t>
            </a:r>
          </a:p>
          <a:p>
            <a:pPr marL="315450" lvl="2" indent="-171450">
              <a:buFontTx/>
              <a:buChar char="-"/>
            </a:pPr>
            <a:r>
              <a:rPr lang="de-DE" baseline="0" dirty="0" smtClean="0"/>
              <a:t>Möglichkeiten des direkten Kontakts mit den Kunden</a:t>
            </a:r>
          </a:p>
          <a:p>
            <a:pPr marL="315450" lvl="2" indent="-171450">
              <a:buFontTx/>
              <a:buChar char="-"/>
            </a:pPr>
            <a:r>
              <a:rPr lang="de-DE" baseline="0" dirty="0" smtClean="0"/>
              <a:t>Einfache und schnelle Kommunikation</a:t>
            </a:r>
          </a:p>
          <a:p>
            <a:pPr marL="315450" lvl="2" indent="-171450">
              <a:buFontTx/>
              <a:buChar char="-"/>
            </a:pPr>
            <a:r>
              <a:rPr lang="de-DE" baseline="0" dirty="0" smtClean="0"/>
              <a:t>Optimierung der Vertriebsprozesse durch Agentur+ etc. zur Umsatzsteigerung</a:t>
            </a:r>
          </a:p>
          <a:p>
            <a:pPr marL="315450" lvl="2" indent="-171450">
              <a:buFontTx/>
              <a:buChar char="-"/>
            </a:pPr>
            <a:r>
              <a:rPr lang="de-DE" baseline="0" dirty="0" smtClean="0"/>
              <a:t>IT als Verknüpfung geographisch auseinanderliegender Orte – der Vertrieb kann auch aus der Ferne mit vor Ort sein</a:t>
            </a:r>
          </a:p>
          <a:p>
            <a:pPr marL="315450" lvl="2" indent="-171450">
              <a:buFontTx/>
              <a:buChar char="-"/>
            </a:pPr>
            <a:r>
              <a:rPr lang="de-DE" baseline="0" dirty="0" smtClean="0"/>
              <a:t>IT als Katalysator für neue Ideen und Produkte</a:t>
            </a:r>
          </a:p>
          <a:p>
            <a:pPr marL="315450" lvl="2" indent="-171450">
              <a:buFontTx/>
              <a:buChar char="-"/>
            </a:pPr>
            <a:endParaRPr lang="de-DE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8931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Eröffnung:</a:t>
            </a:r>
            <a:r>
              <a:rPr lang="de-DE" baseline="0" dirty="0" smtClean="0"/>
              <a:t> Unsere IT – heute!</a:t>
            </a:r>
          </a:p>
          <a:p>
            <a:endParaRPr lang="de-DE" baseline="0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990216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Transformation: Der steinige Weg der IT in die Zukunft.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0702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Dem Vertrieb ging es vergleichsweise</a:t>
            </a:r>
            <a:r>
              <a:rPr lang="de-DE" baseline="0" dirty="0" smtClean="0"/>
              <a:t> gut…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36529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 sz="12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Anmerkungen: </a:t>
            </a:r>
          </a:p>
          <a:p>
            <a:pPr lvl="0"/>
            <a:r>
              <a:rPr lang="de-DE" sz="1200" b="1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 </a:t>
            </a:r>
            <a:r>
              <a:rPr lang="de-DE" sz="12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- Input: Berücksichtigt werden nur Ausfallzeiten bei bestätigten </a:t>
            </a:r>
            <a:r>
              <a:rPr lang="de-DE" sz="1200" b="1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Prio</a:t>
            </a:r>
            <a:r>
              <a:rPr lang="de-DE" sz="12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1 und 2 </a:t>
            </a:r>
            <a:r>
              <a:rPr lang="de-DE" sz="1200" b="1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Incidents</a:t>
            </a:r>
            <a:r>
              <a:rPr lang="de-DE" sz="12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. D.h. nicht-bestätigte </a:t>
            </a:r>
            <a:r>
              <a:rPr lang="de-DE" sz="1200" b="1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Prio</a:t>
            </a:r>
            <a:r>
              <a:rPr lang="de-DE" sz="12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1 und 2 </a:t>
            </a:r>
            <a:r>
              <a:rPr lang="de-DE" sz="1200" b="1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Incidents</a:t>
            </a:r>
            <a:r>
              <a:rPr lang="de-DE" sz="12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sowie </a:t>
            </a:r>
            <a:r>
              <a:rPr lang="de-DE" sz="1200" b="1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Prio</a:t>
            </a:r>
            <a:r>
              <a:rPr lang="de-DE" sz="12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3 und 4 </a:t>
            </a:r>
            <a:r>
              <a:rPr lang="de-DE" sz="1200" b="1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Incidents</a:t>
            </a:r>
            <a:r>
              <a:rPr lang="de-DE" sz="12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fließen nicht in die Berechnung mit ein. </a:t>
            </a:r>
          </a:p>
          <a:p>
            <a:pPr lvl="0"/>
            <a:r>
              <a:rPr lang="de-DE" sz="12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 - Es wird mit einer vorher festgelegten Anwenderzahl und einem festen Anwesenheitsfaktor (derzeit 80%) gerechnet.</a:t>
            </a:r>
          </a:p>
          <a:p>
            <a:endParaRPr lang="de-DE" dirty="0" smtClean="0"/>
          </a:p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333D41"/>
              </a:buClr>
            </a:pPr>
            <a:r>
              <a:rPr lang="de-DE" sz="1200" b="0" dirty="0" smtClean="0"/>
              <a:t>~3.400 Tage Industrie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333D41"/>
              </a:buClr>
            </a:pPr>
            <a:r>
              <a:rPr lang="de-DE" sz="1200" b="0" dirty="0" smtClean="0"/>
              <a:t>~7.600 Tage HD </a:t>
            </a:r>
            <a:r>
              <a:rPr lang="de-DE" sz="1200" b="0" dirty="0" err="1" smtClean="0"/>
              <a:t>Sach</a:t>
            </a:r>
            <a:endParaRPr lang="de-DE" sz="1200" b="0" dirty="0" smtClean="0"/>
          </a:p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333D41"/>
              </a:buClr>
            </a:pPr>
            <a:r>
              <a:rPr lang="de-DE" sz="1200" b="0" dirty="0" smtClean="0"/>
              <a:t>~1.600 Tage BA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333D41"/>
              </a:buClr>
            </a:pPr>
            <a:r>
              <a:rPr lang="de-DE" sz="1200" b="0" dirty="0" smtClean="0"/>
              <a:t>~920 Tage HD Leben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333D41"/>
              </a:buClr>
            </a:pPr>
            <a:r>
              <a:rPr lang="de-DE" sz="1200" b="0" dirty="0" smtClean="0"/>
              <a:t>~330 Tage HDI Service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333D41"/>
              </a:buClr>
            </a:pPr>
            <a:r>
              <a:rPr lang="de-DE" sz="1200" b="0" dirty="0" smtClean="0"/>
              <a:t>~870 Tage </a:t>
            </a:r>
            <a:r>
              <a:rPr lang="de-DE" sz="1200" b="0" dirty="0" err="1" smtClean="0"/>
              <a:t>Ampega</a:t>
            </a:r>
            <a:endParaRPr lang="de-DE" sz="1200" b="0" dirty="0" smtClean="0"/>
          </a:p>
          <a:p>
            <a:pPr fontAlgn="base">
              <a:spcBef>
                <a:spcPts val="600"/>
              </a:spcBef>
              <a:spcAft>
                <a:spcPct val="0"/>
              </a:spcAft>
              <a:buClr>
                <a:srgbClr val="333D41"/>
              </a:buClr>
            </a:pPr>
            <a:r>
              <a:rPr lang="de-DE" sz="1200" b="0" dirty="0" smtClean="0"/>
              <a:t>~9 Tage TX</a:t>
            </a:r>
          </a:p>
          <a:p>
            <a:endParaRPr lang="de-DE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17233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de-DE" sz="12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Anmerkungen: </a:t>
            </a:r>
          </a:p>
          <a:p>
            <a:pPr lvl="0"/>
            <a:r>
              <a:rPr lang="de-DE" sz="1200" b="1" kern="1200" baseline="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 </a:t>
            </a:r>
            <a:r>
              <a:rPr lang="de-DE" sz="12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- Input: Berücksichtigt werden nur Ausfallzeiten bei bestätigten </a:t>
            </a:r>
            <a:r>
              <a:rPr lang="de-DE" sz="1200" b="1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Prio</a:t>
            </a:r>
            <a:r>
              <a:rPr lang="de-DE" sz="12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1 und 2 </a:t>
            </a:r>
            <a:r>
              <a:rPr lang="de-DE" sz="1200" b="1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Incidents</a:t>
            </a:r>
            <a:r>
              <a:rPr lang="de-DE" sz="12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. D.h. nicht-bestätigte </a:t>
            </a:r>
            <a:r>
              <a:rPr lang="de-DE" sz="1200" b="1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Prio</a:t>
            </a:r>
            <a:r>
              <a:rPr lang="de-DE" sz="12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1 und 2 </a:t>
            </a:r>
            <a:r>
              <a:rPr lang="de-DE" sz="1200" b="1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Incidents</a:t>
            </a:r>
            <a:r>
              <a:rPr lang="de-DE" sz="12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sowie </a:t>
            </a:r>
            <a:r>
              <a:rPr lang="de-DE" sz="1200" b="1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Prio</a:t>
            </a:r>
            <a:r>
              <a:rPr lang="de-DE" sz="12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3 und 4 </a:t>
            </a:r>
            <a:r>
              <a:rPr lang="de-DE" sz="1200" b="1" kern="1200" dirty="0" err="1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Incidents</a:t>
            </a:r>
            <a:r>
              <a:rPr lang="de-DE" sz="12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fließen nicht in die Berechnung mit ein. </a:t>
            </a:r>
          </a:p>
          <a:p>
            <a:pPr lvl="0"/>
            <a:r>
              <a:rPr lang="de-DE" sz="1200" b="1" kern="1200" dirty="0" smtClean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  - Es wird mit einer vorher festgelegten Anwenderzahl und einem festen Anwesenheitsfaktor (derzeit 80%) gerechnet.</a:t>
            </a:r>
          </a:p>
          <a:p>
            <a:endParaRPr lang="de-DE" dirty="0" smtClean="0"/>
          </a:p>
          <a:p>
            <a:r>
              <a:rPr lang="de-DE" dirty="0" smtClean="0"/>
              <a:t>Die Zahl beinhaltet auch Mitarbeiter</a:t>
            </a:r>
            <a:r>
              <a:rPr lang="de-DE" baseline="0" dirty="0" smtClean="0"/>
              <a:t> des Innendienst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0138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20138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Message:</a:t>
            </a:r>
            <a:r>
              <a:rPr lang="de-DE" baseline="0" dirty="0" smtClean="0"/>
              <a:t> </a:t>
            </a:r>
            <a:r>
              <a:rPr lang="de-DE" dirty="0" smtClean="0"/>
              <a:t>Konkrete Beispiele</a:t>
            </a:r>
            <a:r>
              <a:rPr lang="de-DE" baseline="0" dirty="0" smtClean="0"/>
              <a:t> für eine bereits erfolgte Unterstützung des Vertriebs durch die „IT als Werkzeug“</a:t>
            </a:r>
            <a:endParaRPr lang="de-DE" dirty="0" smtClean="0"/>
          </a:p>
          <a:p>
            <a:pPr marL="0" marR="0" indent="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 smtClean="0"/>
          </a:p>
          <a:p>
            <a:pPr marL="0" marR="0" indent="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Erreichung wesentlicher Meilensteine für den Vertrieb:</a:t>
            </a:r>
          </a:p>
          <a:p>
            <a:pPr marL="171450" marR="0" indent="-17145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 smtClean="0"/>
              <a:t>Agentur</a:t>
            </a:r>
            <a:r>
              <a:rPr lang="de-DE" baseline="0" dirty="0" smtClean="0"/>
              <a:t>+</a:t>
            </a:r>
          </a:p>
          <a:p>
            <a:pPr marL="171450" marR="0" indent="-17145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baseline="0" dirty="0" smtClean="0"/>
              <a:t>Digitales Vergütungssystem</a:t>
            </a:r>
          </a:p>
          <a:p>
            <a:pPr marL="171450" marR="0" indent="-17145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baseline="0" dirty="0" err="1" smtClean="0"/>
              <a:t>BusinessReportPlus</a:t>
            </a:r>
            <a:endParaRPr lang="de-DE" baseline="0" dirty="0" smtClean="0"/>
          </a:p>
          <a:p>
            <a:pPr marL="171450" marR="0" indent="-17145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de-DE" b="1" baseline="0" dirty="0" smtClean="0"/>
          </a:p>
          <a:p>
            <a:pPr marL="0" marR="0" indent="0" algn="l" defTabSz="914400" rtl="0" eaLnBrk="1" fontAlgn="auto" latinLnBrk="0" hangingPunct="1">
              <a:lnSpc>
                <a:spcPct val="104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b="1" baseline="0" dirty="0" smtClean="0"/>
              <a:t>Signal setzen: Wir kennen die Probleme und Arbeiten mit euch (dem Vertrieb) schon heute an einer Verbesserung!</a:t>
            </a:r>
            <a:endParaRPr lang="de-DE" b="1" dirty="0" smtClean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320065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8124825" y="4792663"/>
            <a:ext cx="22988588" cy="129317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Transformation: Der steinige Weg der IT in die Zukunft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42180C0-F30B-437A-ACD7-66ED1D01E5B1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0702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4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3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0557063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2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100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3" name="Rechteck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 smtClean="0"/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 smtClean="0"/>
              <a:t>Marketing-Unterlage</a:t>
            </a:r>
          </a:p>
        </p:txBody>
      </p:sp>
      <p:sp>
        <p:nvSpPr>
          <p:cNvPr id="52" name="Rechtwinkliges Dreieck 51"/>
          <p:cNvSpPr/>
          <p:nvPr userDrawn="1"/>
        </p:nvSpPr>
        <p:spPr>
          <a:xfrm rot="10800000">
            <a:off x="10896365" y="-1"/>
            <a:ext cx="12956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 smtClean="0"/>
          </a:p>
        </p:txBody>
      </p:sp>
      <p:sp>
        <p:nvSpPr>
          <p:cNvPr id="53" name="Rechtwinkliges Dreieck 52"/>
          <p:cNvSpPr/>
          <p:nvPr userDrawn="1"/>
        </p:nvSpPr>
        <p:spPr>
          <a:xfrm rot="10800000" flipV="1">
            <a:off x="7872028" y="4833156"/>
            <a:ext cx="4319972" cy="2024843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 smtClean="0"/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1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8" y="1167613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 smtClean="0"/>
              <a:t>Präsentationstitel maximal vierzeilig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1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 smtClean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1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 smtClean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381009598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Mu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2720353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3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</a:pPr>
            <a:endParaRPr lang="de-DE" sz="4600" b="0" i="0" baseline="0" dirty="0" smtClean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1" name="Rechteck 40"/>
          <p:cNvSpPr/>
          <p:nvPr userDrawn="1"/>
        </p:nvSpPr>
        <p:spPr>
          <a:xfrm>
            <a:off x="0" y="0"/>
            <a:ext cx="32307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 smtClean="0"/>
          </a:p>
        </p:txBody>
      </p:sp>
      <p:pic>
        <p:nvPicPr>
          <p:cNvPr id="42" name="Grafik 4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048508" y="0"/>
            <a:ext cx="9143492" cy="6858000"/>
          </a:xfrm>
          <a:prstGeom prst="rect">
            <a:avLst/>
          </a:prstGeom>
        </p:spPr>
      </p:pic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100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3" y="3105541"/>
            <a:ext cx="10404268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 Agenda</a:t>
            </a:r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1724186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840113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Bild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9434746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1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</a:pPr>
            <a:endParaRPr lang="de-DE" sz="4600" b="0" i="0" baseline="0" dirty="0" smtClean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100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3" y="5368948"/>
            <a:ext cx="10404268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 Agenda</a:t>
            </a:r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3987592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003136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Bild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1748779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4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</a:pPr>
            <a:endParaRPr lang="de-DE" sz="4600" b="0" i="0" baseline="0" dirty="0" smtClean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100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 smtClean="0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3" y="1900671"/>
            <a:ext cx="10404268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accent1"/>
                </a:solidFill>
              </a:defRPr>
            </a:lvl1pPr>
          </a:lstStyle>
          <a:p>
            <a:r>
              <a:rPr lang="de-DE" dirty="0" smtClean="0"/>
              <a:t>Titel Agenda</a:t>
            </a:r>
            <a:endParaRPr lang="de-DE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519316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893395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dirty="0" smtClean="0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60" y="1268760"/>
            <a:ext cx="11520000" cy="493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74816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smtClean="0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58" y="1268760"/>
            <a:ext cx="5580000" cy="4932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26759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r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smtClean="0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58" y="1268760"/>
            <a:ext cx="3600000" cy="4932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 bwMode="gray">
          <a:xfrm>
            <a:off x="4295801" y="1268760"/>
            <a:ext cx="3600000" cy="493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5"/>
          </p:nvPr>
        </p:nvSpPr>
        <p:spPr bwMode="gray">
          <a:xfrm>
            <a:off x="8256240" y="1268760"/>
            <a:ext cx="3600000" cy="493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4169965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pos="2479" userDrawn="1">
          <p15:clr>
            <a:srgbClr val="FBAE40"/>
          </p15:clr>
        </p15:guide>
        <p15:guide id="2" pos="4974" userDrawn="1">
          <p15:clr>
            <a:srgbClr val="FBAE40"/>
          </p15:clr>
        </p15:guide>
        <p15:guide id="0" pos="2706" userDrawn="1">
          <p15:clr>
            <a:srgbClr val="FBAE40"/>
          </p15:clr>
        </p15:guide>
        <p15:guide id="3" pos="5201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6051734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 smtClean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smtClean="0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335360" y="1881174"/>
            <a:ext cx="1152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1268761"/>
            <a:ext cx="11520000" cy="256096"/>
          </a:xfrm>
        </p:spPr>
        <p:txBody>
          <a:bodyPr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 smtClean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5360" y="6060244"/>
            <a:ext cx="1152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smtClean="0"/>
              <a:t>Platzhalter für eine Quellenangabe</a:t>
            </a:r>
            <a:endParaRPr lang="de-DE" dirty="0" smtClean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557139"/>
            <a:ext cx="11520000" cy="256096"/>
          </a:xfrm>
        </p:spPr>
        <p:txBody>
          <a:bodyPr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smtClean="0"/>
              <a:t>Platzhalter für die Werteinheit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3379839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3646875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 smtClean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smtClean="0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335360" y="1881174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 smtClean="0"/>
              <a:t>Diagramm durch Klicken auf Symbol hinzufügen</a:t>
            </a:r>
            <a:endParaRPr lang="de-DE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 smtClean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536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smtClean="0"/>
              <a:t>Platzhalter für eine Quellenangabe</a:t>
            </a:r>
            <a:endParaRPr lang="de-DE" dirty="0" smtClean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557139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smtClean="0"/>
              <a:t>Platzhalter für die Werteinheit</a:t>
            </a:r>
            <a:endParaRPr lang="de-DE" dirty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201942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0024200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0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 smtClean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627602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602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 smtClean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7602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smtClean="0"/>
              <a:t>Platzhalter für eine Quellenangabe</a:t>
            </a:r>
            <a:endParaRPr lang="de-DE" dirty="0" smtClean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76020" y="1556792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smtClean="0"/>
              <a:t>Platzhalter für die Werteinheit</a:t>
            </a:r>
            <a:endParaRPr lang="de-DE" dirty="0" smtClean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335360" y="1268760"/>
            <a:ext cx="5580000" cy="493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 smtClean="0"/>
              <a:t>Titel der Präsentation | Name Referent | Marketing-Unterlage | TT.MM.JJJJ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83309472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3265955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66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 smtClean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627602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602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 smtClean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7602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smtClean="0"/>
              <a:t>Platzhalter für eine Quellenangabe</a:t>
            </a:r>
            <a:endParaRPr lang="de-DE" dirty="0" smtClean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76020" y="1556792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smtClean="0"/>
              <a:t>Platzhalter für die Werteinheit</a:t>
            </a:r>
            <a:endParaRPr lang="de-DE" dirty="0" smtClean="0"/>
          </a:p>
        </p:txBody>
      </p:sp>
      <p:sp>
        <p:nvSpPr>
          <p:cNvPr id="15" name="Diagrammplatzhalter 6"/>
          <p:cNvSpPr>
            <a:spLocks noGrp="1"/>
          </p:cNvSpPr>
          <p:nvPr>
            <p:ph type="chart" sz="quarter" idx="17"/>
          </p:nvPr>
        </p:nvSpPr>
        <p:spPr bwMode="gray">
          <a:xfrm>
            <a:off x="33536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536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 smtClean="0"/>
              <a:t>Platzhalter für den Diagrammtitel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5360" y="1556792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 baseline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 smtClean="0"/>
              <a:t>Platzhalter für die Werteinheit</a:t>
            </a:r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3536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 smtClean="0"/>
              <a:t>Platzhalter für eine Quellenangabe</a:t>
            </a:r>
            <a:endParaRPr lang="de-DE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 smtClean="0"/>
              <a:t>Titel der Präsentation | Name Referent | Marketing-Unterlage | TT.MM.JJJJ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4992317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us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736523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56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54" name="Rechteck 5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 smtClean="0"/>
          </a:p>
        </p:txBody>
      </p:sp>
      <p:pic>
        <p:nvPicPr>
          <p:cNvPr id="53" name="Grafik 5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0" y="0"/>
            <a:ext cx="9143492" cy="6858000"/>
          </a:xfrm>
          <a:prstGeom prst="rect">
            <a:avLst/>
          </a:prstGeom>
        </p:spPr>
      </p:pic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100" cy="7104692"/>
            <a:chOff x="-122806" y="-125583"/>
            <a:chExt cx="9390074" cy="7104692"/>
          </a:xfrm>
        </p:grpSpPr>
        <p:sp>
          <p:nvSpPr>
            <p:cNvPr id="41" name="Freihandform 40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3853076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6696648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30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 smtClean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smtClean="0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 bwMode="gray">
          <a:xfrm>
            <a:off x="335360" y="1268413"/>
            <a:ext cx="11520000" cy="4932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6068460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4629619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2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 smtClean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smtClean="0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 bwMode="gray">
          <a:xfrm>
            <a:off x="335360" y="1268413"/>
            <a:ext cx="5580000" cy="4932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712438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2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2439063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05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 smtClean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smtClean="0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 bwMode="gray">
          <a:xfrm>
            <a:off x="335360" y="1268412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/>
          </p:nvPr>
        </p:nvSpPr>
        <p:spPr bwMode="gray">
          <a:xfrm>
            <a:off x="335360" y="3825308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923126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7665119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4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 smtClean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335360" y="1268760"/>
            <a:ext cx="5580000" cy="493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6276020" y="1269308"/>
            <a:ext cx="5580000" cy="4932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noProof="0" smtClean="0"/>
              <a:t>Titel der Präsentation | Name Referent | Marketing-Unterlage | TT.MM.JJJJ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32562693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6839439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7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 smtClean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335360" y="1268760"/>
            <a:ext cx="5580000" cy="493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6276020" y="1268760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/>
          </p:nvPr>
        </p:nvSpPr>
        <p:spPr bwMode="gray">
          <a:xfrm>
            <a:off x="6276020" y="3825308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 smtClean="0"/>
              <a:t>Titel der Präsentation | Name Referent | Marketing-Unterlage | TT.MM.JJJJ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67994803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smtClean="0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408465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smtClean="0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5245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uster 03 Druc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2860807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9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31" name="Rechteck 3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5000">
                <a:srgbClr val="E2E3E3"/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 smtClean="0"/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8393589" y="2024522"/>
            <a:ext cx="3798411" cy="3906668"/>
            <a:chOff x="5345590" y="2024522"/>
            <a:chExt cx="3798410" cy="3906668"/>
          </a:xfrm>
        </p:grpSpPr>
        <p:sp>
          <p:nvSpPr>
            <p:cNvPr id="32" name="Rechteck 31"/>
            <p:cNvSpPr/>
            <p:nvPr userDrawn="1"/>
          </p:nvSpPr>
          <p:spPr bwMode="gray">
            <a:xfrm>
              <a:off x="5345590" y="2024522"/>
              <a:ext cx="3798410" cy="3906668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5345590" y="2024522"/>
              <a:ext cx="1131410" cy="2814178"/>
            </a:xfrm>
            <a:custGeom>
              <a:avLst/>
              <a:gdLst>
                <a:gd name="connsiteX0" fmla="*/ 0 w 1131410"/>
                <a:gd name="connsiteY0" fmla="*/ 0 h 2814178"/>
                <a:gd name="connsiteX1" fmla="*/ 993779 w 1131410"/>
                <a:gd name="connsiteY1" fmla="*/ 0 h 2814178"/>
                <a:gd name="connsiteX2" fmla="*/ 1131410 w 1131410"/>
                <a:gd name="connsiteY2" fmla="*/ 199566 h 2814178"/>
                <a:gd name="connsiteX3" fmla="*/ 1131410 w 1131410"/>
                <a:gd name="connsiteY3" fmla="*/ 2704641 h 2814178"/>
                <a:gd name="connsiteX4" fmla="*/ 188435 w 1131410"/>
                <a:gd name="connsiteY4" fmla="*/ 2814178 h 2814178"/>
                <a:gd name="connsiteX5" fmla="*/ 0 w 1131410"/>
                <a:gd name="connsiteY5" fmla="*/ 2520570 h 2814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1410" h="2814178">
                  <a:moveTo>
                    <a:pt x="0" y="0"/>
                  </a:moveTo>
                  <a:lnTo>
                    <a:pt x="993779" y="0"/>
                  </a:lnTo>
                  <a:lnTo>
                    <a:pt x="1131410" y="199566"/>
                  </a:lnTo>
                  <a:lnTo>
                    <a:pt x="1131410" y="2704641"/>
                  </a:lnTo>
                  <a:lnTo>
                    <a:pt x="188435" y="2814178"/>
                  </a:lnTo>
                  <a:lnTo>
                    <a:pt x="0" y="2520570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34" name="Rechtwinkliges Dreieck 33"/>
            <p:cNvSpPr/>
            <p:nvPr userDrawn="1"/>
          </p:nvSpPr>
          <p:spPr>
            <a:xfrm flipH="1">
              <a:off x="6660232" y="5006993"/>
              <a:ext cx="2483768" cy="924197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dirty="0" err="1" smtClean="0"/>
            </a:p>
          </p:txBody>
        </p:sp>
      </p:grpSp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100" cy="7104692"/>
            <a:chOff x="-122806" y="-125583"/>
            <a:chExt cx="9390074" cy="7104692"/>
          </a:xfrm>
        </p:grpSpPr>
        <p:sp>
          <p:nvSpPr>
            <p:cNvPr id="41" name="Freihandform 40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accent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 smtClean="0"/>
              <a:t>Marketing-Unterlage</a:t>
            </a: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8502001" y="213285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7" name="Gruppieren 56"/>
          <p:cNvGrpSpPr/>
          <p:nvPr userDrawn="1"/>
        </p:nvGrpSpPr>
        <p:grpSpPr bwMode="gray">
          <a:xfrm>
            <a:off x="11035089" y="2475953"/>
            <a:ext cx="823913" cy="328613"/>
            <a:chOff x="323850" y="6294680"/>
            <a:chExt cx="823913" cy="328613"/>
          </a:xfrm>
        </p:grpSpPr>
        <p:sp>
          <p:nvSpPr>
            <p:cNvPr id="5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8814641" y="3103267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 smtClean="0"/>
              <a:t>Präsentationstitel maximal vierzeilig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814641" y="4852027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 smtClean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814641" y="5369981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 smtClean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2839285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7848163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224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100" cy="7104692"/>
            <a:chOff x="-122806" y="-125583"/>
            <a:chExt cx="9390074" cy="7104692"/>
          </a:xfrm>
        </p:grpSpPr>
        <p:sp>
          <p:nvSpPr>
            <p:cNvPr id="40" name="Freihandform 39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29" name="Bildplatzhalter 28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856640 w 12192000"/>
              <a:gd name="connsiteY3" fmla="*/ 6858000 h 6858000"/>
              <a:gd name="connsiteX4" fmla="*/ 11856640 w 12192000"/>
              <a:gd name="connsiteY4" fmla="*/ 3168000 h 6858000"/>
              <a:gd name="connsiteX5" fmla="*/ 8166640 w 12192000"/>
              <a:gd name="connsiteY5" fmla="*/ 3168000 h 6858000"/>
              <a:gd name="connsiteX6" fmla="*/ 816664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856640" y="6858000"/>
                </a:lnTo>
                <a:lnTo>
                  <a:pt x="11856640" y="3168000"/>
                </a:lnTo>
                <a:lnTo>
                  <a:pt x="8166640" y="3168000"/>
                </a:lnTo>
                <a:lnTo>
                  <a:pt x="81666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 smtClean="0"/>
              <a:t>Marketing-Unterlage</a:t>
            </a:r>
          </a:p>
        </p:txBody>
      </p:sp>
      <p:sp>
        <p:nvSpPr>
          <p:cNvPr id="30" name="Rechteck 29"/>
          <p:cNvSpPr/>
          <p:nvPr userDrawn="1"/>
        </p:nvSpPr>
        <p:spPr bwMode="gray">
          <a:xfrm>
            <a:off x="8166641" y="3168000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grpSp>
        <p:nvGrpSpPr>
          <p:cNvPr id="53" name="Gruppieren 52"/>
          <p:cNvGrpSpPr/>
          <p:nvPr userDrawn="1"/>
        </p:nvGrpSpPr>
        <p:grpSpPr bwMode="gray">
          <a:xfrm>
            <a:off x="10699729" y="3494868"/>
            <a:ext cx="823913" cy="328613"/>
            <a:chOff x="323850" y="6294680"/>
            <a:chExt cx="823913" cy="328613"/>
          </a:xfrm>
        </p:grpSpPr>
        <p:sp>
          <p:nvSpPr>
            <p:cNvPr id="54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8481642" y="4118402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 smtClean="0"/>
              <a:t>Präsentationstitel maximal vierzeilig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481642" y="5868000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 smtClean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481642" y="6387542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 smtClean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1965049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1073419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4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100" cy="7104692"/>
            <a:chOff x="-122806" y="-125583"/>
            <a:chExt cx="9390074" cy="7104692"/>
          </a:xfrm>
        </p:grpSpPr>
        <p:sp>
          <p:nvSpPr>
            <p:cNvPr id="40" name="Freihandform 39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60" name="Bildplatzhalter 59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716322 h 6858000"/>
              <a:gd name="connsiteX5" fmla="*/ 3690000 w 12192000"/>
              <a:gd name="connsiteY5" fmla="*/ 4716322 h 6858000"/>
              <a:gd name="connsiteX6" fmla="*/ 3690000 w 12192000"/>
              <a:gd name="connsiteY6" fmla="*/ 1026322 h 6858000"/>
              <a:gd name="connsiteX7" fmla="*/ 0 w 12192000"/>
              <a:gd name="connsiteY7" fmla="*/ 102632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716322"/>
                </a:lnTo>
                <a:lnTo>
                  <a:pt x="3690000" y="4716322"/>
                </a:lnTo>
                <a:lnTo>
                  <a:pt x="3690000" y="1026322"/>
                </a:lnTo>
                <a:lnTo>
                  <a:pt x="0" y="1026322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 smtClean="0"/>
              <a:t>Marketing-Unterlage</a:t>
            </a:r>
          </a:p>
        </p:txBody>
      </p:sp>
      <p:sp>
        <p:nvSpPr>
          <p:cNvPr id="61" name="Rechteck 60"/>
          <p:cNvSpPr/>
          <p:nvPr userDrawn="1"/>
        </p:nvSpPr>
        <p:spPr bwMode="gray">
          <a:xfrm>
            <a:off x="1" y="1026322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976769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 smtClean="0"/>
              <a:t>Präsentationstitel maximal vierzeilig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1" y="3720767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 smtClean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1" y="4245865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 smtClean="0"/>
              <a:t>Name Referent | Ort | TT.MM.JJJJ</a:t>
            </a:r>
          </a:p>
        </p:txBody>
      </p:sp>
      <p:grpSp>
        <p:nvGrpSpPr>
          <p:cNvPr id="53" name="Gruppieren 52"/>
          <p:cNvGrpSpPr/>
          <p:nvPr userDrawn="1"/>
        </p:nvGrpSpPr>
        <p:grpSpPr bwMode="gray">
          <a:xfrm>
            <a:off x="2535448" y="1353190"/>
            <a:ext cx="823913" cy="328613"/>
            <a:chOff x="323850" y="6294680"/>
            <a:chExt cx="823913" cy="328613"/>
          </a:xfrm>
        </p:grpSpPr>
        <p:sp>
          <p:nvSpPr>
            <p:cNvPr id="54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650207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86496216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98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41" name="Gruppieren 40"/>
          <p:cNvGrpSpPr/>
          <p:nvPr userDrawn="1"/>
        </p:nvGrpSpPr>
        <p:grpSpPr bwMode="gray">
          <a:xfrm>
            <a:off x="-163742" y="-125583"/>
            <a:ext cx="12520100" cy="7104692"/>
            <a:chOff x="-122806" y="-125583"/>
            <a:chExt cx="9390074" cy="7104692"/>
          </a:xfrm>
        </p:grpSpPr>
        <p:sp>
          <p:nvSpPr>
            <p:cNvPr id="42" name="Freihandform 41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3" name="Freihandform 52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62" name="Bildplatzhalter 61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733550 h 6858000"/>
              <a:gd name="connsiteX3" fmla="*/ 8502000 w 12192000"/>
              <a:gd name="connsiteY3" fmla="*/ 1733550 h 6858000"/>
              <a:gd name="connsiteX4" fmla="*/ 8502000 w 12192000"/>
              <a:gd name="connsiteY4" fmla="*/ 5423550 h 6858000"/>
              <a:gd name="connsiteX5" fmla="*/ 12192000 w 12192000"/>
              <a:gd name="connsiteY5" fmla="*/ 542355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733550"/>
                </a:lnTo>
                <a:lnTo>
                  <a:pt x="8502000" y="1733550"/>
                </a:lnTo>
                <a:lnTo>
                  <a:pt x="8502000" y="5423550"/>
                </a:lnTo>
                <a:lnTo>
                  <a:pt x="12192000" y="542355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 smtClean="0"/>
              <a:t>Bild durch Klicken auf Symbol hinzufügen</a:t>
            </a:r>
            <a:endParaRPr lang="de-DE"/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 smtClean="0"/>
              <a:t>Marketing-Unterlage</a:t>
            </a:r>
          </a:p>
        </p:txBody>
      </p:sp>
      <p:sp>
        <p:nvSpPr>
          <p:cNvPr id="63" name="Rechteck 62"/>
          <p:cNvSpPr/>
          <p:nvPr userDrawn="1"/>
        </p:nvSpPr>
        <p:spPr bwMode="gray">
          <a:xfrm>
            <a:off x="8502001" y="1733550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8814641" y="2683998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 smtClean="0"/>
              <a:t>Präsentationstitel maximal vierzeilig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814212" y="4430373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 smtClean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814212" y="4953092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 smtClean="0"/>
              <a:t>Name Referent | Ort | TT.MM.JJJJ</a:t>
            </a:r>
          </a:p>
        </p:txBody>
      </p:sp>
      <p:sp>
        <p:nvSpPr>
          <p:cNvPr id="17" name="Bildplatzhalter 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502001" y="5459062"/>
            <a:ext cx="1256400" cy="723900"/>
          </a:xfrm>
          <a:solidFill>
            <a:schemeClr val="bg1"/>
          </a:solidFill>
        </p:spPr>
        <p:txBody>
          <a:bodyPr/>
          <a:lstStyle>
            <a:lvl1pPr>
              <a:defRPr sz="1200" b="0">
                <a:latin typeface="Arial Narrow" panose="020B0506020202030204" pitchFamily="34" charset="0"/>
              </a:defRPr>
            </a:lvl1pPr>
          </a:lstStyle>
          <a:p>
            <a:r>
              <a:rPr lang="de-DE" dirty="0" smtClean="0"/>
              <a:t>Platzhalter für ein Kooperationspartner Logo</a:t>
            </a:r>
            <a:endParaRPr lang="de-DE" dirty="0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11035089" y="2060418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4060307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5406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52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700" b="0" i="0" baseline="0" dirty="0" err="1" smtClean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smtClean="0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128714" y="1536700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Titel Agenda Nummer Eins</a:t>
            </a:r>
          </a:p>
          <a:p>
            <a:pPr lvl="1"/>
            <a:r>
              <a:rPr lang="de-DE" dirty="0" smtClean="0"/>
              <a:t>Agenda Unterpunkt</a:t>
            </a:r>
          </a:p>
        </p:txBody>
      </p:sp>
      <p:sp>
        <p:nvSpPr>
          <p:cNvPr id="33" name="Textplatzhalter 7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128714" y="2342216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Titel Agenda Nummer Zwei</a:t>
            </a:r>
          </a:p>
          <a:p>
            <a:pPr lvl="1"/>
            <a:r>
              <a:rPr lang="de-DE" dirty="0" smtClean="0"/>
              <a:t>Agenda Unterpunkt</a:t>
            </a:r>
          </a:p>
        </p:txBody>
      </p:sp>
      <p:sp>
        <p:nvSpPr>
          <p:cNvPr id="34" name="Textplatzhalter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128714" y="3147730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Titel Agenda Nummer Drei</a:t>
            </a:r>
          </a:p>
          <a:p>
            <a:pPr lvl="1"/>
            <a:r>
              <a:rPr lang="de-DE" dirty="0" smtClean="0"/>
              <a:t>Agenda Unterpunkt</a:t>
            </a: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128714" y="3953245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Titel Agenda Nummer Vier</a:t>
            </a:r>
          </a:p>
          <a:p>
            <a:pPr lvl="1"/>
            <a:r>
              <a:rPr lang="de-DE" dirty="0" smtClean="0"/>
              <a:t>Agenda Unterpunkt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128714" y="4758761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Titel Agenda Nummer Fünf</a:t>
            </a:r>
          </a:p>
          <a:p>
            <a:pPr lvl="1"/>
            <a:r>
              <a:rPr lang="de-DE" dirty="0" smtClean="0"/>
              <a:t>Agenda Unterpunkt</a:t>
            </a:r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28714" y="5564275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Titel Agenda Nummer Sechs</a:t>
            </a:r>
          </a:p>
          <a:p>
            <a:pPr lvl="1"/>
            <a:r>
              <a:rPr lang="de-DE" dirty="0" smtClean="0"/>
              <a:t>Agenda Unterpunkt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89205" y="1361648"/>
            <a:ext cx="264495" cy="569387"/>
          </a:xfrm>
        </p:spPr>
        <p:txBody>
          <a:bodyPr wrap="none" lIns="0" tIns="0" rIns="0" bIns="0" anchor="t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1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89203" y="2166966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2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89203" y="2972284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3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89203" y="3777602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4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89203" y="4582920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5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89203" y="5388237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219825448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7445812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1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hteck 54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8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 smtClean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 smtClean="0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7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152702" y="1536702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Titel </a:t>
            </a:r>
            <a:r>
              <a:rPr lang="de-DE" noProof="0" dirty="0" smtClean="0"/>
              <a:t>Agenda</a:t>
            </a:r>
            <a:r>
              <a:rPr lang="de-DE" dirty="0" smtClean="0"/>
              <a:t> Nummer Eins</a:t>
            </a:r>
          </a:p>
          <a:p>
            <a:pPr lvl="1"/>
            <a:r>
              <a:rPr lang="de-DE" dirty="0" smtClean="0"/>
              <a:t>Agenda Unterpunkt</a:t>
            </a:r>
          </a:p>
        </p:txBody>
      </p:sp>
      <p:sp>
        <p:nvSpPr>
          <p:cNvPr id="58" name="Textplatzhalter 7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152702" y="2340357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Titel Agenda Nummer Zwei</a:t>
            </a:r>
          </a:p>
          <a:p>
            <a:pPr lvl="1"/>
            <a:r>
              <a:rPr lang="de-DE" dirty="0" smtClean="0"/>
              <a:t>Agenda Unterpunkt</a:t>
            </a:r>
          </a:p>
        </p:txBody>
      </p:sp>
      <p:sp>
        <p:nvSpPr>
          <p:cNvPr id="59" name="Textplatzhalter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152702" y="3144012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Titel Agenda Nummer Drei</a:t>
            </a:r>
          </a:p>
          <a:p>
            <a:pPr lvl="1"/>
            <a:r>
              <a:rPr lang="de-DE" dirty="0" smtClean="0"/>
              <a:t>Agenda Unterpunkt</a:t>
            </a:r>
          </a:p>
        </p:txBody>
      </p:sp>
      <p:sp>
        <p:nvSpPr>
          <p:cNvPr id="60" name="Textplatzhalter 7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152702" y="3947667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Titel Agenda Nummer Vier</a:t>
            </a:r>
          </a:p>
          <a:p>
            <a:pPr lvl="1"/>
            <a:r>
              <a:rPr lang="de-DE" dirty="0" smtClean="0"/>
              <a:t>Agenda Unterpunkt</a:t>
            </a:r>
          </a:p>
        </p:txBody>
      </p:sp>
      <p:sp>
        <p:nvSpPr>
          <p:cNvPr id="61" name="Textplatzhalt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152702" y="4751322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Titel Agenda Nummer Fünf</a:t>
            </a:r>
          </a:p>
          <a:p>
            <a:pPr lvl="1"/>
            <a:r>
              <a:rPr lang="de-DE" dirty="0" smtClean="0"/>
              <a:t>Agenda Unterpunkt</a:t>
            </a:r>
          </a:p>
        </p:txBody>
      </p:sp>
      <p:sp>
        <p:nvSpPr>
          <p:cNvPr id="62" name="Textplatzhalter 7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152702" y="5554977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Titel Agenda Nummer Sechs</a:t>
            </a:r>
          </a:p>
          <a:p>
            <a:pPr lvl="1"/>
            <a:r>
              <a:rPr lang="de-DE" dirty="0" smtClean="0"/>
              <a:t>Agenda Unterpunkt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6946588" y="1536702"/>
            <a:ext cx="4908772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Titel Agenda Nummer Sieben</a:t>
            </a:r>
          </a:p>
          <a:p>
            <a:pPr lvl="1"/>
            <a:r>
              <a:rPr lang="de-DE" dirty="0" smtClean="0"/>
              <a:t>Agenda Unterpunkt</a:t>
            </a:r>
          </a:p>
        </p:txBody>
      </p:sp>
      <p:sp>
        <p:nvSpPr>
          <p:cNvPr id="64" name="Textplatzhalter 7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6946588" y="2340357"/>
            <a:ext cx="4908772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Titel Agenda Nummer Acht</a:t>
            </a:r>
          </a:p>
          <a:p>
            <a:pPr lvl="1"/>
            <a:r>
              <a:rPr lang="de-DE" dirty="0" smtClean="0"/>
              <a:t>Agenda Unterpunkt</a:t>
            </a:r>
          </a:p>
        </p:txBody>
      </p:sp>
      <p:sp>
        <p:nvSpPr>
          <p:cNvPr id="65" name="Textplatzhalter 7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946588" y="3144012"/>
            <a:ext cx="4908772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Titel Agenda Nummer Neun</a:t>
            </a:r>
          </a:p>
          <a:p>
            <a:pPr lvl="1"/>
            <a:r>
              <a:rPr lang="de-DE" dirty="0" smtClean="0"/>
              <a:t>Agenda Unterpunkt</a:t>
            </a:r>
          </a:p>
        </p:txBody>
      </p:sp>
      <p:sp>
        <p:nvSpPr>
          <p:cNvPr id="66" name="Textplatzhalter 7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946588" y="3947667"/>
            <a:ext cx="4908772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Titel Agenda Nummer Zehn</a:t>
            </a:r>
          </a:p>
          <a:p>
            <a:pPr lvl="1"/>
            <a:r>
              <a:rPr lang="de-DE" dirty="0" smtClean="0"/>
              <a:t>Agenda Unterpunkt</a:t>
            </a:r>
          </a:p>
        </p:txBody>
      </p:sp>
      <p:sp>
        <p:nvSpPr>
          <p:cNvPr id="67" name="Textplatzhalter 7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946588" y="4751322"/>
            <a:ext cx="4908772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Titel Agenda Nummer Elf</a:t>
            </a:r>
          </a:p>
          <a:p>
            <a:pPr lvl="1"/>
            <a:r>
              <a:rPr lang="de-DE" dirty="0" smtClean="0"/>
              <a:t>Agenda Unterpunkt</a:t>
            </a:r>
          </a:p>
        </p:txBody>
      </p:sp>
      <p:sp>
        <p:nvSpPr>
          <p:cNvPr id="68" name="Textplatzhalter 7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946588" y="5554977"/>
            <a:ext cx="4908772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Titel Agenda Nummer Zwölf</a:t>
            </a:r>
          </a:p>
          <a:p>
            <a:pPr lvl="1"/>
            <a:r>
              <a:rPr lang="de-DE" dirty="0" smtClean="0"/>
              <a:t>Agenda Unterpunkt</a:t>
            </a:r>
          </a:p>
        </p:txBody>
      </p:sp>
      <p:sp>
        <p:nvSpPr>
          <p:cNvPr id="32" name="Textplatzhalter 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87616" y="1384730"/>
            <a:ext cx="242053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1</a:t>
            </a:r>
          </a:p>
        </p:txBody>
      </p:sp>
      <p:sp>
        <p:nvSpPr>
          <p:cNvPr id="33" name="Textplatzhalter 7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7616" y="2188188"/>
            <a:ext cx="242053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2</a:t>
            </a:r>
          </a:p>
        </p:txBody>
      </p:sp>
      <p:sp>
        <p:nvSpPr>
          <p:cNvPr id="34" name="Textplatzhalter 7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87616" y="2991646"/>
            <a:ext cx="242053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3</a:t>
            </a: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87616" y="3795105"/>
            <a:ext cx="242053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4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87616" y="4598562"/>
            <a:ext cx="242053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5</a:t>
            </a:r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87616" y="5402020"/>
            <a:ext cx="242053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6</a:t>
            </a:r>
          </a:p>
        </p:txBody>
      </p:sp>
      <p:sp>
        <p:nvSpPr>
          <p:cNvPr id="38" name="Textplatzhalter 7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482070" y="1384730"/>
            <a:ext cx="242053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7</a:t>
            </a: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6482070" y="2188188"/>
            <a:ext cx="242053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8</a:t>
            </a:r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6482070" y="2991646"/>
            <a:ext cx="242053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9</a:t>
            </a:r>
          </a:p>
        </p:txBody>
      </p:sp>
      <p:sp>
        <p:nvSpPr>
          <p:cNvPr id="41" name="Textplatzhalter 7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6240017" y="3795105"/>
            <a:ext cx="484107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10</a:t>
            </a:r>
          </a:p>
        </p:txBody>
      </p:sp>
      <p:sp>
        <p:nvSpPr>
          <p:cNvPr id="42" name="Textplatzhalter 7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6272399" y="4598562"/>
            <a:ext cx="451726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11</a:t>
            </a:r>
          </a:p>
        </p:txBody>
      </p:sp>
      <p:sp>
        <p:nvSpPr>
          <p:cNvPr id="43" name="Textplatzhalter 7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6240017" y="5402020"/>
            <a:ext cx="484107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 smtClean="0"/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115186743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3794830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7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21166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4000"/>
              </a:lnSpc>
              <a:spcBef>
                <a:spcPct val="0"/>
              </a:spcBef>
              <a:spcAft>
                <a:spcPct val="0"/>
              </a:spcAft>
            </a:pPr>
            <a:endParaRPr lang="de-DE" sz="3200" b="0" i="1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4" name="Grafik 53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563" b="3448"/>
          <a:stretch/>
        </p:blipFill>
        <p:spPr bwMode="gray">
          <a:xfrm>
            <a:off x="-600" y="0"/>
            <a:ext cx="12193200" cy="6858000"/>
          </a:xfrm>
          <a:prstGeom prst="rect">
            <a:avLst/>
          </a:prstGeom>
        </p:spPr>
      </p:pic>
      <p:grpSp>
        <p:nvGrpSpPr>
          <p:cNvPr id="38" name="Gruppieren 37"/>
          <p:cNvGrpSpPr/>
          <p:nvPr userDrawn="1"/>
        </p:nvGrpSpPr>
        <p:grpSpPr bwMode="gray">
          <a:xfrm>
            <a:off x="-163742" y="-125583"/>
            <a:ext cx="12520100" cy="7104692"/>
            <a:chOff x="-122806" y="-125583"/>
            <a:chExt cx="9390074" cy="7104692"/>
          </a:xfrm>
        </p:grpSpPr>
        <p:sp>
          <p:nvSpPr>
            <p:cNvPr id="39" name="Freihandform 3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17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 smtClean="0"/>
              <a:t>Marketing-Unterlag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360" y="1988840"/>
            <a:ext cx="8640000" cy="512128"/>
          </a:xfrm>
        </p:spPr>
        <p:txBody>
          <a:bodyPr anchor="t">
            <a:spAutoFit/>
          </a:bodyPr>
          <a:lstStyle>
            <a:lvl1pPr algn="ctr">
              <a:lnSpc>
                <a:spcPct val="104000"/>
              </a:lnSpc>
              <a:defRPr sz="3200" i="1" baseline="0"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Platzhalter für ein Zitat</a:t>
            </a:r>
            <a:endParaRPr lang="de-DE" dirty="0"/>
          </a:p>
        </p:txBody>
      </p:sp>
      <p:sp>
        <p:nvSpPr>
          <p:cNvPr id="42" name="Textplatzhalt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3865646"/>
            <a:ext cx="8640000" cy="128240"/>
          </a:xfrm>
        </p:spPr>
        <p:txBody>
          <a:bodyPr>
            <a:spAutoFit/>
          </a:bodyPr>
          <a:lstStyle>
            <a:lvl1pPr algn="r">
              <a:lnSpc>
                <a:spcPts val="960"/>
              </a:lnSpc>
              <a:defRPr sz="10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smtClean="0"/>
              <a:t>Vorname Nachname des Autors oder Quelle</a:t>
            </a:r>
            <a:endParaRPr lang="de-DE" dirty="0" smtClean="0"/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9632694" y="0"/>
            <a:ext cx="1638300" cy="1638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6" name="Gruppieren 55"/>
          <p:cNvGrpSpPr/>
          <p:nvPr userDrawn="1"/>
        </p:nvGrpSpPr>
        <p:grpSpPr bwMode="gray">
          <a:xfrm>
            <a:off x="10122813" y="325514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887997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163174019"/>
              </p:ext>
            </p:extLst>
          </p:nvPr>
        </p:nvGraphicFramePr>
        <p:xfrm>
          <a:off x="2120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" name="think-cell Folie" r:id="rId31" imgW="344" imgH="345" progId="TCLayout.ActiveDocument.1">
                  <p:embed/>
                </p:oleObj>
              </mc:Choice>
              <mc:Fallback>
                <p:oleObj name="think-cell Folie" r:id="rId31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20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0"/>
            </p:custDataLst>
          </p:nvPr>
        </p:nvSpPr>
        <p:spPr>
          <a:xfrm>
            <a:off x="1" y="0"/>
            <a:ext cx="211668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35360" y="260650"/>
            <a:ext cx="11520000" cy="7918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35360" y="1268759"/>
            <a:ext cx="11520000" cy="493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 smtClean="0"/>
              <a:t>Textmasterformat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966462" y="6510243"/>
            <a:ext cx="9504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 noProof="0" dirty="0" smtClean="0"/>
              <a:t>Titel der Präsentation | Name Referent | Marketing-Unterlage | TT.MM.JJJJ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568640" y="6510243"/>
            <a:ext cx="288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grpSp>
        <p:nvGrpSpPr>
          <p:cNvPr id="33" name="Gruppieren 32"/>
          <p:cNvGrpSpPr/>
          <p:nvPr/>
        </p:nvGrpSpPr>
        <p:grpSpPr bwMode="gray">
          <a:xfrm>
            <a:off x="-163742" y="-125583"/>
            <a:ext cx="12520100" cy="7104692"/>
            <a:chOff x="-122806" y="-125583"/>
            <a:chExt cx="9390074" cy="7104692"/>
          </a:xfrm>
        </p:grpSpPr>
        <p:sp>
          <p:nvSpPr>
            <p:cNvPr id="34" name="Freihandform 33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grpSp>
        <p:nvGrpSpPr>
          <p:cNvPr id="27" name="Gruppieren 26"/>
          <p:cNvGrpSpPr>
            <a:grpSpLocks noChangeAspect="1"/>
          </p:cNvGrpSpPr>
          <p:nvPr/>
        </p:nvGrpSpPr>
        <p:grpSpPr bwMode="gray">
          <a:xfrm>
            <a:off x="335360" y="6407293"/>
            <a:ext cx="541564" cy="216000"/>
            <a:chOff x="323850" y="6294680"/>
            <a:chExt cx="823913" cy="328613"/>
          </a:xfrm>
        </p:grpSpPr>
        <p:sp>
          <p:nvSpPr>
            <p:cNvPr id="2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2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4478233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81" r:id="rId2"/>
    <p:sldLayoutId id="2147483694" r:id="rId3"/>
    <p:sldLayoutId id="2147483684" r:id="rId4"/>
    <p:sldLayoutId id="2147483685" r:id="rId5"/>
    <p:sldLayoutId id="2147483687" r:id="rId6"/>
    <p:sldLayoutId id="2147483664" r:id="rId7"/>
    <p:sldLayoutId id="2147483663" r:id="rId8"/>
    <p:sldLayoutId id="2147483655" r:id="rId9"/>
    <p:sldLayoutId id="2147483665" r:id="rId10"/>
    <p:sldLayoutId id="2147483688" r:id="rId11"/>
    <p:sldLayoutId id="2147483689" r:id="rId12"/>
    <p:sldLayoutId id="2147483661" r:id="rId13"/>
    <p:sldLayoutId id="2147483667" r:id="rId14"/>
    <p:sldLayoutId id="2147483676" r:id="rId15"/>
    <p:sldLayoutId id="2147483671" r:id="rId16"/>
    <p:sldLayoutId id="2147483672" r:id="rId17"/>
    <p:sldLayoutId id="2147483673" r:id="rId18"/>
    <p:sldLayoutId id="2147483690" r:id="rId19"/>
    <p:sldLayoutId id="2147483677" r:id="rId20"/>
    <p:sldLayoutId id="2147483674" r:id="rId21"/>
    <p:sldLayoutId id="2147483678" r:id="rId22"/>
    <p:sldLayoutId id="2147483675" r:id="rId23"/>
    <p:sldLayoutId id="2147483679" r:id="rId24"/>
    <p:sldLayoutId id="2147483691" r:id="rId25"/>
    <p:sldLayoutId id="2147483692" r:id="rId26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ts val="2970"/>
        </a:lnSpc>
        <a:spcBef>
          <a:spcPct val="0"/>
        </a:spcBef>
        <a:buNone/>
        <a:defRPr sz="27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4000"/>
        </a:lnSpc>
        <a:spcBef>
          <a:spcPts val="1200"/>
        </a:spcBef>
        <a:buSzPct val="110000"/>
        <a:buFont typeface="Wingdings" panose="05000000000000000000" pitchFamily="2" charset="2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4000"/>
        </a:lnSpc>
        <a:spcBef>
          <a:spcPts val="800"/>
        </a:spcBef>
        <a:buSzPct val="110000"/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34000" indent="-234000" algn="l" defTabSz="914400" rtl="0" eaLnBrk="1" latinLnBrk="0" hangingPunct="1">
        <a:lnSpc>
          <a:spcPct val="104000"/>
        </a:lnSpc>
        <a:spcBef>
          <a:spcPts val="6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02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211" userDrawn="1">
          <p15:clr>
            <a:srgbClr val="F26B43"/>
          </p15:clr>
        </p15:guide>
        <p15:guide id="2" orient="horz" pos="799" userDrawn="1">
          <p15:clr>
            <a:srgbClr val="F26B43"/>
          </p15:clr>
        </p15:guide>
        <p15:guide id="3" orient="horz" pos="3906" userDrawn="1">
          <p15:clr>
            <a:srgbClr val="F26B43"/>
          </p15:clr>
        </p15:guide>
        <p15:guide id="4" pos="7469" userDrawn="1">
          <p15:clr>
            <a:srgbClr val="F26B43"/>
          </p15:clr>
        </p15:guide>
        <p15:guide id="6" pos="3727" userDrawn="1">
          <p15:clr>
            <a:srgbClr val="F26B43"/>
          </p15:clr>
        </p15:guide>
        <p15:guide id="7" pos="395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1.emf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m/url?sa=i&amp;rct=j&amp;q=&amp;esrc=s&amp;source=images&amp;cd=&amp;cad=rja&amp;uact=8&amp;ved=2ahUKEwjdy42esMXgAhVQbVAKHactB80QjRx6BAgBEAU&amp;url=/url?sa%3Di%26rct%3Dj%26q%3D%26esrc%3Ds%26source%3Dimages%26cd%3D%26ved%3D2ahUKEwiSidacsMXgAhXNPFAKHfnVDAgQjRx6BAgBEAU%26url%3Dhttps://www.f10479.de/index_bs2000.html%26psig%3DAOvVaw2xzR2tmf8hM_eMpXWN9il6%26ust%3D1550582518757524&amp;psig=AOvVaw2xzR2tmf8hM_eMpXWN9il6&amp;ust=1550582518757524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hyperlink" Target="https://www.google.com/url?sa=i&amp;rct=j&amp;q=&amp;esrc=s&amp;source=images&amp;cd=&amp;cad=rja&amp;uact=8&amp;ved=2ahUKEwjbkaDnho7hAhWIyKQKHYC2AY8QjRx6BAgBEAU&amp;url=https://www.cablinginstall.com/articles/2017/040/om5-questions-top5.html&amp;psig=AOvVaw1AEDVZ3C9nt6mZw_hpxIUJ&amp;ust=1553079626828707" TargetMode="External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8.emf"/><Relationship Id="rId4" Type="http://schemas.openxmlformats.org/officeDocument/2006/relationships/oleObject" Target="https://workspaces.hdires.zz/sites/TaSys_CH_Mgmt/Dokumente/Reports/Auswertung%20zu%20Incidents%20Prio%201u2/Services%20zu%20AP_Typen_Monate.xlsm!Jahresverf&#252;gbarkeit%20Forecast!Z2S2:Z33S17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oogle.de/url?sa=i&amp;rct=j&amp;q=&amp;esrc=s&amp;source=images&amp;cd=&amp;cad=rja&amp;uact=8&amp;ved=2ahUKEwignuT3wf_gAhURM-wKHQDtB2QQjRx6BAgBEAU&amp;url=https://de.m.wikipedia.org/wiki/Datei:F_icon.svg&amp;psig=AOvVaw0kl5VcOhlS_nd0FLgcliYE&amp;ust=1552580153269440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0900367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49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>
            <p:custDataLst>
              <p:tags r:id="rId3"/>
            </p:custDataLst>
          </p:nvPr>
        </p:nvSpPr>
        <p:spPr>
          <a:xfrm>
            <a:off x="1524001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35789" y="1788806"/>
            <a:ext cx="3042000" cy="692497"/>
          </a:xfrm>
        </p:spPr>
        <p:txBody>
          <a:bodyPr/>
          <a:lstStyle/>
          <a:p>
            <a:r>
              <a:rPr lang="de-DE" dirty="0" smtClean="0"/>
              <a:t>Jahreshauptversammlung</a:t>
            </a:r>
            <a:br>
              <a:rPr lang="de-DE" dirty="0" smtClean="0"/>
            </a:br>
            <a:r>
              <a:rPr lang="de-DE" dirty="0" smtClean="0"/>
              <a:t>der </a:t>
            </a:r>
            <a:r>
              <a:rPr lang="de-DE" dirty="0"/>
              <a:t>USH 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335361" y="4117954"/>
            <a:ext cx="3042000" cy="192360"/>
          </a:xfrm>
        </p:spPr>
        <p:txBody>
          <a:bodyPr/>
          <a:lstStyle/>
          <a:p>
            <a:r>
              <a:rPr lang="de-DE" dirty="0" smtClean="0"/>
              <a:t>Herbert Rogenhofer | Berlin | 21.03.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32896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xmlns="" id="{2E1A346D-D891-B849-A072-9A41937445FF}"/>
              </a:ext>
            </a:extLst>
          </p:cNvPr>
          <p:cNvSpPr txBox="1"/>
          <p:nvPr/>
        </p:nvSpPr>
        <p:spPr>
          <a:xfrm>
            <a:off x="0" y="2519891"/>
            <a:ext cx="12192000" cy="17160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de-DE"/>
            </a:defPPr>
            <a:lvl1pPr algn="ctr">
              <a:lnSpc>
                <a:spcPct val="104000"/>
              </a:lnSpc>
              <a:spcBef>
                <a:spcPts val="600"/>
              </a:spcBef>
              <a:defRPr sz="11500">
                <a:solidFill>
                  <a:schemeClr val="accent2"/>
                </a:solidFill>
              </a:defRPr>
            </a:lvl1pPr>
          </a:lstStyle>
          <a:p>
            <a:r>
              <a:rPr lang="de-DE" dirty="0"/>
              <a:t>BYOD</a:t>
            </a:r>
          </a:p>
        </p:txBody>
      </p:sp>
    </p:spTree>
    <p:extLst>
      <p:ext uri="{BB962C8B-B14F-4D97-AF65-F5344CB8AC3E}">
        <p14:creationId xmlns:p14="http://schemas.microsoft.com/office/powerpoint/2010/main" val="40754416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hteck 71"/>
          <p:cNvSpPr/>
          <p:nvPr/>
        </p:nvSpPr>
        <p:spPr>
          <a:xfrm>
            <a:off x="-31824" y="0"/>
            <a:ext cx="12223824" cy="685800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 smtClean="0"/>
          </a:p>
        </p:txBody>
      </p:sp>
      <p:cxnSp>
        <p:nvCxnSpPr>
          <p:cNvPr id="142" name="Gerade Verbindung 141"/>
          <p:cNvCxnSpPr>
            <a:endCxn id="39" idx="26"/>
          </p:cNvCxnSpPr>
          <p:nvPr/>
        </p:nvCxnSpPr>
        <p:spPr>
          <a:xfrm flipH="1">
            <a:off x="6136798" y="2351740"/>
            <a:ext cx="4360676" cy="863982"/>
          </a:xfrm>
          <a:prstGeom prst="line">
            <a:avLst/>
          </a:prstGeom>
          <a:ln w="952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4" name="Gerade Verbindung 73"/>
          <p:cNvCxnSpPr/>
          <p:nvPr/>
        </p:nvCxnSpPr>
        <p:spPr>
          <a:xfrm>
            <a:off x="5901268" y="1772816"/>
            <a:ext cx="194732" cy="1224136"/>
          </a:xfrm>
          <a:prstGeom prst="line">
            <a:avLst/>
          </a:prstGeom>
          <a:ln w="952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2" name="Gerade Verbindung 81"/>
          <p:cNvCxnSpPr/>
          <p:nvPr/>
        </p:nvCxnSpPr>
        <p:spPr>
          <a:xfrm flipH="1">
            <a:off x="6083180" y="1403479"/>
            <a:ext cx="1164948" cy="1773495"/>
          </a:xfrm>
          <a:prstGeom prst="line">
            <a:avLst/>
          </a:prstGeom>
          <a:ln w="952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6" name="Gerade Verbindung 85"/>
          <p:cNvCxnSpPr/>
          <p:nvPr/>
        </p:nvCxnSpPr>
        <p:spPr>
          <a:xfrm flipH="1">
            <a:off x="6083180" y="1526507"/>
            <a:ext cx="3264204" cy="1650467"/>
          </a:xfrm>
          <a:prstGeom prst="line">
            <a:avLst/>
          </a:prstGeom>
          <a:ln w="952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9" name="Gerade Verbindung 88"/>
          <p:cNvCxnSpPr/>
          <p:nvPr/>
        </p:nvCxnSpPr>
        <p:spPr>
          <a:xfrm>
            <a:off x="4678376" y="749288"/>
            <a:ext cx="1417790" cy="2427686"/>
          </a:xfrm>
          <a:prstGeom prst="line">
            <a:avLst/>
          </a:prstGeom>
          <a:ln w="952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2" name="Gerade Verbindung 91"/>
          <p:cNvCxnSpPr>
            <a:stCxn id="35" idx="28"/>
            <a:endCxn id="39" idx="18"/>
          </p:cNvCxnSpPr>
          <p:nvPr/>
        </p:nvCxnSpPr>
        <p:spPr>
          <a:xfrm>
            <a:off x="2374619" y="814503"/>
            <a:ext cx="3663037" cy="2302154"/>
          </a:xfrm>
          <a:prstGeom prst="line">
            <a:avLst/>
          </a:prstGeom>
          <a:ln w="952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5" name="Gerade Verbindung 94"/>
          <p:cNvCxnSpPr>
            <a:stCxn id="23" idx="9"/>
          </p:cNvCxnSpPr>
          <p:nvPr/>
        </p:nvCxnSpPr>
        <p:spPr>
          <a:xfrm>
            <a:off x="3223343" y="2334482"/>
            <a:ext cx="2872657" cy="822775"/>
          </a:xfrm>
          <a:prstGeom prst="line">
            <a:avLst/>
          </a:prstGeom>
          <a:ln w="9525"/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/>
        </p:nvCxnSpPr>
        <p:spPr>
          <a:xfrm flipV="1">
            <a:off x="1777098" y="3149352"/>
            <a:ext cx="4319068" cy="6637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cxnSp>
      <p:cxnSp>
        <p:nvCxnSpPr>
          <p:cNvPr id="101" name="Gerade Verbindung 100"/>
          <p:cNvCxnSpPr>
            <a:stCxn id="45" idx="19"/>
          </p:cNvCxnSpPr>
          <p:nvPr/>
        </p:nvCxnSpPr>
        <p:spPr>
          <a:xfrm flipH="1">
            <a:off x="6096166" y="3104535"/>
            <a:ext cx="3512783" cy="52723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cxnSp>
      <p:cxnSp>
        <p:nvCxnSpPr>
          <p:cNvPr id="104" name="Gerade Verbindung 103"/>
          <p:cNvCxnSpPr/>
          <p:nvPr/>
        </p:nvCxnSpPr>
        <p:spPr>
          <a:xfrm flipH="1" flipV="1">
            <a:off x="6083180" y="3157259"/>
            <a:ext cx="2976171" cy="1341951"/>
          </a:xfrm>
          <a:prstGeom prst="line">
            <a:avLst/>
          </a:prstGeom>
          <a:ln w="952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cxnSp>
      <p:cxnSp>
        <p:nvCxnSpPr>
          <p:cNvPr id="113" name="Gerade Verbindung 112"/>
          <p:cNvCxnSpPr/>
          <p:nvPr/>
        </p:nvCxnSpPr>
        <p:spPr>
          <a:xfrm flipV="1">
            <a:off x="3750257" y="3157258"/>
            <a:ext cx="2345909" cy="785554"/>
          </a:xfrm>
          <a:prstGeom prst="line">
            <a:avLst/>
          </a:prstGeom>
          <a:ln w="952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cxnSp>
      <p:grpSp>
        <p:nvGrpSpPr>
          <p:cNvPr id="52" name="Gruppieren 51"/>
          <p:cNvGrpSpPr/>
          <p:nvPr/>
        </p:nvGrpSpPr>
        <p:grpSpPr>
          <a:xfrm>
            <a:off x="5506668" y="1276627"/>
            <a:ext cx="789199" cy="789199"/>
            <a:chOff x="1766907" y="1354569"/>
            <a:chExt cx="822960" cy="822960"/>
          </a:xfrm>
        </p:grpSpPr>
        <p:sp>
          <p:nvSpPr>
            <p:cNvPr id="20" name="Oval 14"/>
            <p:cNvSpPr>
              <a:spLocks noChangeArrowheads="1"/>
            </p:cNvSpPr>
            <p:nvPr/>
          </p:nvSpPr>
          <p:spPr bwMode="auto">
            <a:xfrm>
              <a:off x="1766907" y="1354569"/>
              <a:ext cx="822960" cy="82296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1" name="Freeform 33"/>
            <p:cNvSpPr>
              <a:spLocks noEditPoints="1"/>
            </p:cNvSpPr>
            <p:nvPr/>
          </p:nvSpPr>
          <p:spPr bwMode="auto">
            <a:xfrm>
              <a:off x="1898365" y="1486848"/>
              <a:ext cx="560043" cy="419778"/>
            </a:xfrm>
            <a:custGeom>
              <a:avLst/>
              <a:gdLst>
                <a:gd name="T0" fmla="*/ 169 w 485"/>
                <a:gd name="T1" fmla="*/ 91 h 364"/>
                <a:gd name="T2" fmla="*/ 169 w 485"/>
                <a:gd name="T3" fmla="*/ 81 h 364"/>
                <a:gd name="T4" fmla="*/ 177 w 485"/>
                <a:gd name="T5" fmla="*/ 74 h 364"/>
                <a:gd name="T6" fmla="*/ 123 w 485"/>
                <a:gd name="T7" fmla="*/ 279 h 364"/>
                <a:gd name="T8" fmla="*/ 49 w 485"/>
                <a:gd name="T9" fmla="*/ 232 h 364"/>
                <a:gd name="T10" fmla="*/ 0 w 485"/>
                <a:gd name="T11" fmla="*/ 359 h 364"/>
                <a:gd name="T12" fmla="*/ 190 w 485"/>
                <a:gd name="T13" fmla="*/ 359 h 364"/>
                <a:gd name="T14" fmla="*/ 95 w 485"/>
                <a:gd name="T15" fmla="*/ 181 h 364"/>
                <a:gd name="T16" fmla="*/ 58 w 485"/>
                <a:gd name="T17" fmla="*/ 232 h 364"/>
                <a:gd name="T18" fmla="*/ 56 w 485"/>
                <a:gd name="T19" fmla="*/ 320 h 364"/>
                <a:gd name="T20" fmla="*/ 114 w 485"/>
                <a:gd name="T21" fmla="*/ 286 h 364"/>
                <a:gd name="T22" fmla="*/ 180 w 485"/>
                <a:gd name="T23" fmla="*/ 355 h 364"/>
                <a:gd name="T24" fmla="*/ 246 w 485"/>
                <a:gd name="T25" fmla="*/ 109 h 364"/>
                <a:gd name="T26" fmla="*/ 262 w 485"/>
                <a:gd name="T27" fmla="*/ 92 h 364"/>
                <a:gd name="T28" fmla="*/ 262 w 485"/>
                <a:gd name="T29" fmla="*/ 102 h 364"/>
                <a:gd name="T30" fmla="*/ 316 w 485"/>
                <a:gd name="T31" fmla="*/ 109 h 364"/>
                <a:gd name="T32" fmla="*/ 299 w 485"/>
                <a:gd name="T33" fmla="*/ 126 h 364"/>
                <a:gd name="T34" fmla="*/ 292 w 485"/>
                <a:gd name="T35" fmla="*/ 109 h 364"/>
                <a:gd name="T36" fmla="*/ 299 w 485"/>
                <a:gd name="T37" fmla="*/ 117 h 364"/>
                <a:gd name="T38" fmla="*/ 327 w 485"/>
                <a:gd name="T39" fmla="*/ 215 h 364"/>
                <a:gd name="T40" fmla="*/ 378 w 485"/>
                <a:gd name="T41" fmla="*/ 108 h 364"/>
                <a:gd name="T42" fmla="*/ 203 w 485"/>
                <a:gd name="T43" fmla="*/ 0 h 364"/>
                <a:gd name="T44" fmla="*/ 154 w 485"/>
                <a:gd name="T45" fmla="*/ 183 h 364"/>
                <a:gd name="T46" fmla="*/ 208 w 485"/>
                <a:gd name="T47" fmla="*/ 143 h 364"/>
                <a:gd name="T48" fmla="*/ 321 w 485"/>
                <a:gd name="T49" fmla="*/ 216 h 364"/>
                <a:gd name="T50" fmla="*/ 226 w 485"/>
                <a:gd name="T51" fmla="*/ 130 h 364"/>
                <a:gd name="T52" fmla="*/ 199 w 485"/>
                <a:gd name="T53" fmla="*/ 137 h 364"/>
                <a:gd name="T54" fmla="*/ 180 w 485"/>
                <a:gd name="T55" fmla="*/ 134 h 364"/>
                <a:gd name="T56" fmla="*/ 131 w 485"/>
                <a:gd name="T57" fmla="*/ 71 h 364"/>
                <a:gd name="T58" fmla="*/ 275 w 485"/>
                <a:gd name="T59" fmla="*/ 49 h 364"/>
                <a:gd name="T60" fmla="*/ 314 w 485"/>
                <a:gd name="T61" fmla="*/ 169 h 364"/>
                <a:gd name="T62" fmla="*/ 296 w 485"/>
                <a:gd name="T63" fmla="*/ 173 h 364"/>
                <a:gd name="T64" fmla="*/ 418 w 485"/>
                <a:gd name="T65" fmla="*/ 279 h 364"/>
                <a:gd name="T66" fmla="*/ 343 w 485"/>
                <a:gd name="T67" fmla="*/ 232 h 364"/>
                <a:gd name="T68" fmla="*/ 295 w 485"/>
                <a:gd name="T69" fmla="*/ 359 h 364"/>
                <a:gd name="T70" fmla="*/ 485 w 485"/>
                <a:gd name="T71" fmla="*/ 359 h 364"/>
                <a:gd name="T72" fmla="*/ 390 w 485"/>
                <a:gd name="T73" fmla="*/ 181 h 364"/>
                <a:gd name="T74" fmla="*/ 353 w 485"/>
                <a:gd name="T75" fmla="*/ 232 h 364"/>
                <a:gd name="T76" fmla="*/ 350 w 485"/>
                <a:gd name="T77" fmla="*/ 320 h 364"/>
                <a:gd name="T78" fmla="*/ 409 w 485"/>
                <a:gd name="T79" fmla="*/ 286 h 364"/>
                <a:gd name="T80" fmla="*/ 475 w 485"/>
                <a:gd name="T81" fmla="*/ 355 h 364"/>
                <a:gd name="T82" fmla="*/ 189 w 485"/>
                <a:gd name="T83" fmla="*/ 74 h 364"/>
                <a:gd name="T84" fmla="*/ 206 w 485"/>
                <a:gd name="T85" fmla="*/ 57 h 364"/>
                <a:gd name="T86" fmla="*/ 206 w 485"/>
                <a:gd name="T87" fmla="*/ 66 h 364"/>
                <a:gd name="T88" fmla="*/ 260 w 485"/>
                <a:gd name="T89" fmla="*/ 74 h 364"/>
                <a:gd name="T90" fmla="*/ 243 w 485"/>
                <a:gd name="T91" fmla="*/ 91 h 364"/>
                <a:gd name="T92" fmla="*/ 236 w 485"/>
                <a:gd name="T93" fmla="*/ 74 h 364"/>
                <a:gd name="T94" fmla="*/ 243 w 485"/>
                <a:gd name="T95" fmla="*/ 81 h 364"/>
                <a:gd name="T96" fmla="*/ 336 w 485"/>
                <a:gd name="T97" fmla="*/ 92 h 364"/>
                <a:gd name="T98" fmla="*/ 336 w 485"/>
                <a:gd name="T99" fmla="*/ 102 h 364"/>
                <a:gd name="T100" fmla="*/ 329 w 485"/>
                <a:gd name="T101" fmla="*/ 109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85" h="364">
                  <a:moveTo>
                    <a:pt x="169" y="57"/>
                  </a:moveTo>
                  <a:cubicBezTo>
                    <a:pt x="160" y="57"/>
                    <a:pt x="153" y="65"/>
                    <a:pt x="153" y="74"/>
                  </a:cubicBezTo>
                  <a:cubicBezTo>
                    <a:pt x="153" y="83"/>
                    <a:pt x="160" y="91"/>
                    <a:pt x="169" y="91"/>
                  </a:cubicBezTo>
                  <a:cubicBezTo>
                    <a:pt x="179" y="91"/>
                    <a:pt x="186" y="83"/>
                    <a:pt x="186" y="74"/>
                  </a:cubicBezTo>
                  <a:cubicBezTo>
                    <a:pt x="186" y="65"/>
                    <a:pt x="179" y="57"/>
                    <a:pt x="169" y="57"/>
                  </a:cubicBezTo>
                  <a:close/>
                  <a:moveTo>
                    <a:pt x="169" y="81"/>
                  </a:moveTo>
                  <a:cubicBezTo>
                    <a:pt x="165" y="81"/>
                    <a:pt x="162" y="78"/>
                    <a:pt x="162" y="74"/>
                  </a:cubicBezTo>
                  <a:cubicBezTo>
                    <a:pt x="162" y="70"/>
                    <a:pt x="165" y="66"/>
                    <a:pt x="169" y="66"/>
                  </a:cubicBezTo>
                  <a:cubicBezTo>
                    <a:pt x="173" y="66"/>
                    <a:pt x="177" y="70"/>
                    <a:pt x="177" y="74"/>
                  </a:cubicBezTo>
                  <a:cubicBezTo>
                    <a:pt x="177" y="78"/>
                    <a:pt x="173" y="81"/>
                    <a:pt x="169" y="81"/>
                  </a:cubicBezTo>
                  <a:close/>
                  <a:moveTo>
                    <a:pt x="138" y="312"/>
                  </a:moveTo>
                  <a:cubicBezTo>
                    <a:pt x="127" y="309"/>
                    <a:pt x="124" y="290"/>
                    <a:pt x="123" y="279"/>
                  </a:cubicBezTo>
                  <a:cubicBezTo>
                    <a:pt x="134" y="267"/>
                    <a:pt x="141" y="250"/>
                    <a:pt x="141" y="232"/>
                  </a:cubicBezTo>
                  <a:cubicBezTo>
                    <a:pt x="141" y="195"/>
                    <a:pt x="123" y="171"/>
                    <a:pt x="95" y="171"/>
                  </a:cubicBezTo>
                  <a:cubicBezTo>
                    <a:pt x="66" y="171"/>
                    <a:pt x="49" y="195"/>
                    <a:pt x="49" y="232"/>
                  </a:cubicBezTo>
                  <a:cubicBezTo>
                    <a:pt x="49" y="251"/>
                    <a:pt x="56" y="268"/>
                    <a:pt x="67" y="279"/>
                  </a:cubicBezTo>
                  <a:cubicBezTo>
                    <a:pt x="67" y="293"/>
                    <a:pt x="62" y="308"/>
                    <a:pt x="53" y="311"/>
                  </a:cubicBezTo>
                  <a:cubicBezTo>
                    <a:pt x="9" y="320"/>
                    <a:pt x="0" y="342"/>
                    <a:pt x="0" y="359"/>
                  </a:cubicBezTo>
                  <a:cubicBezTo>
                    <a:pt x="0" y="362"/>
                    <a:pt x="2" y="364"/>
                    <a:pt x="4" y="364"/>
                  </a:cubicBezTo>
                  <a:cubicBezTo>
                    <a:pt x="185" y="364"/>
                    <a:pt x="185" y="364"/>
                    <a:pt x="185" y="364"/>
                  </a:cubicBezTo>
                  <a:cubicBezTo>
                    <a:pt x="188" y="364"/>
                    <a:pt x="190" y="362"/>
                    <a:pt x="190" y="359"/>
                  </a:cubicBezTo>
                  <a:cubicBezTo>
                    <a:pt x="190" y="343"/>
                    <a:pt x="181" y="321"/>
                    <a:pt x="138" y="312"/>
                  </a:cubicBezTo>
                  <a:close/>
                  <a:moveTo>
                    <a:pt x="58" y="232"/>
                  </a:moveTo>
                  <a:cubicBezTo>
                    <a:pt x="58" y="185"/>
                    <a:pt x="86" y="181"/>
                    <a:pt x="95" y="181"/>
                  </a:cubicBezTo>
                  <a:cubicBezTo>
                    <a:pt x="104" y="181"/>
                    <a:pt x="132" y="185"/>
                    <a:pt x="132" y="232"/>
                  </a:cubicBezTo>
                  <a:cubicBezTo>
                    <a:pt x="132" y="261"/>
                    <a:pt x="112" y="283"/>
                    <a:pt x="95" y="283"/>
                  </a:cubicBezTo>
                  <a:cubicBezTo>
                    <a:pt x="77" y="283"/>
                    <a:pt x="58" y="261"/>
                    <a:pt x="58" y="232"/>
                  </a:cubicBezTo>
                  <a:close/>
                  <a:moveTo>
                    <a:pt x="9" y="355"/>
                  </a:moveTo>
                  <a:cubicBezTo>
                    <a:pt x="12" y="338"/>
                    <a:pt x="27" y="326"/>
                    <a:pt x="55" y="320"/>
                  </a:cubicBezTo>
                  <a:cubicBezTo>
                    <a:pt x="55" y="320"/>
                    <a:pt x="55" y="320"/>
                    <a:pt x="56" y="320"/>
                  </a:cubicBezTo>
                  <a:cubicBezTo>
                    <a:pt x="68" y="316"/>
                    <a:pt x="74" y="301"/>
                    <a:pt x="76" y="286"/>
                  </a:cubicBezTo>
                  <a:cubicBezTo>
                    <a:pt x="82" y="290"/>
                    <a:pt x="88" y="292"/>
                    <a:pt x="95" y="292"/>
                  </a:cubicBezTo>
                  <a:cubicBezTo>
                    <a:pt x="102" y="292"/>
                    <a:pt x="108" y="290"/>
                    <a:pt x="114" y="286"/>
                  </a:cubicBezTo>
                  <a:cubicBezTo>
                    <a:pt x="116" y="302"/>
                    <a:pt x="122" y="317"/>
                    <a:pt x="136" y="321"/>
                  </a:cubicBezTo>
                  <a:cubicBezTo>
                    <a:pt x="136" y="321"/>
                    <a:pt x="136" y="321"/>
                    <a:pt x="136" y="321"/>
                  </a:cubicBezTo>
                  <a:cubicBezTo>
                    <a:pt x="163" y="326"/>
                    <a:pt x="178" y="338"/>
                    <a:pt x="180" y="355"/>
                  </a:cubicBezTo>
                  <a:lnTo>
                    <a:pt x="9" y="355"/>
                  </a:lnTo>
                  <a:close/>
                  <a:moveTo>
                    <a:pt x="262" y="92"/>
                  </a:moveTo>
                  <a:cubicBezTo>
                    <a:pt x="253" y="92"/>
                    <a:pt x="246" y="100"/>
                    <a:pt x="246" y="109"/>
                  </a:cubicBezTo>
                  <a:cubicBezTo>
                    <a:pt x="246" y="118"/>
                    <a:pt x="253" y="126"/>
                    <a:pt x="262" y="126"/>
                  </a:cubicBezTo>
                  <a:cubicBezTo>
                    <a:pt x="272" y="126"/>
                    <a:pt x="279" y="118"/>
                    <a:pt x="279" y="109"/>
                  </a:cubicBezTo>
                  <a:cubicBezTo>
                    <a:pt x="279" y="100"/>
                    <a:pt x="272" y="92"/>
                    <a:pt x="262" y="92"/>
                  </a:cubicBezTo>
                  <a:close/>
                  <a:moveTo>
                    <a:pt x="262" y="117"/>
                  </a:moveTo>
                  <a:cubicBezTo>
                    <a:pt x="258" y="117"/>
                    <a:pt x="255" y="113"/>
                    <a:pt x="255" y="109"/>
                  </a:cubicBezTo>
                  <a:cubicBezTo>
                    <a:pt x="255" y="105"/>
                    <a:pt x="258" y="102"/>
                    <a:pt x="262" y="102"/>
                  </a:cubicBezTo>
                  <a:cubicBezTo>
                    <a:pt x="267" y="102"/>
                    <a:pt x="270" y="105"/>
                    <a:pt x="270" y="109"/>
                  </a:cubicBezTo>
                  <a:cubicBezTo>
                    <a:pt x="270" y="113"/>
                    <a:pt x="267" y="117"/>
                    <a:pt x="262" y="117"/>
                  </a:cubicBezTo>
                  <a:close/>
                  <a:moveTo>
                    <a:pt x="316" y="109"/>
                  </a:moveTo>
                  <a:cubicBezTo>
                    <a:pt x="316" y="100"/>
                    <a:pt x="308" y="92"/>
                    <a:pt x="299" y="92"/>
                  </a:cubicBezTo>
                  <a:cubicBezTo>
                    <a:pt x="290" y="92"/>
                    <a:pt x="282" y="100"/>
                    <a:pt x="282" y="109"/>
                  </a:cubicBezTo>
                  <a:cubicBezTo>
                    <a:pt x="282" y="118"/>
                    <a:pt x="290" y="126"/>
                    <a:pt x="299" y="126"/>
                  </a:cubicBezTo>
                  <a:cubicBezTo>
                    <a:pt x="308" y="126"/>
                    <a:pt x="316" y="118"/>
                    <a:pt x="316" y="109"/>
                  </a:cubicBezTo>
                  <a:close/>
                  <a:moveTo>
                    <a:pt x="299" y="117"/>
                  </a:moveTo>
                  <a:cubicBezTo>
                    <a:pt x="295" y="117"/>
                    <a:pt x="292" y="113"/>
                    <a:pt x="292" y="109"/>
                  </a:cubicBezTo>
                  <a:cubicBezTo>
                    <a:pt x="292" y="105"/>
                    <a:pt x="295" y="102"/>
                    <a:pt x="299" y="102"/>
                  </a:cubicBezTo>
                  <a:cubicBezTo>
                    <a:pt x="303" y="102"/>
                    <a:pt x="307" y="105"/>
                    <a:pt x="307" y="109"/>
                  </a:cubicBezTo>
                  <a:cubicBezTo>
                    <a:pt x="307" y="113"/>
                    <a:pt x="303" y="117"/>
                    <a:pt x="299" y="117"/>
                  </a:cubicBezTo>
                  <a:close/>
                  <a:moveTo>
                    <a:pt x="321" y="216"/>
                  </a:moveTo>
                  <a:cubicBezTo>
                    <a:pt x="322" y="216"/>
                    <a:pt x="323" y="216"/>
                    <a:pt x="324" y="216"/>
                  </a:cubicBezTo>
                  <a:cubicBezTo>
                    <a:pt x="325" y="216"/>
                    <a:pt x="326" y="216"/>
                    <a:pt x="327" y="215"/>
                  </a:cubicBezTo>
                  <a:cubicBezTo>
                    <a:pt x="328" y="214"/>
                    <a:pt x="329" y="212"/>
                    <a:pt x="328" y="210"/>
                  </a:cubicBezTo>
                  <a:cubicBezTo>
                    <a:pt x="328" y="210"/>
                    <a:pt x="321" y="195"/>
                    <a:pt x="320" y="177"/>
                  </a:cubicBezTo>
                  <a:cubicBezTo>
                    <a:pt x="354" y="168"/>
                    <a:pt x="378" y="140"/>
                    <a:pt x="378" y="108"/>
                  </a:cubicBezTo>
                  <a:cubicBezTo>
                    <a:pt x="378" y="69"/>
                    <a:pt x="341" y="37"/>
                    <a:pt x="296" y="37"/>
                  </a:cubicBezTo>
                  <a:cubicBezTo>
                    <a:pt x="289" y="37"/>
                    <a:pt x="283" y="37"/>
                    <a:pt x="276" y="39"/>
                  </a:cubicBezTo>
                  <a:cubicBezTo>
                    <a:pt x="262" y="15"/>
                    <a:pt x="234" y="0"/>
                    <a:pt x="203" y="0"/>
                  </a:cubicBezTo>
                  <a:cubicBezTo>
                    <a:pt x="158" y="0"/>
                    <a:pt x="122" y="32"/>
                    <a:pt x="122" y="71"/>
                  </a:cubicBezTo>
                  <a:cubicBezTo>
                    <a:pt x="122" y="100"/>
                    <a:pt x="141" y="125"/>
                    <a:pt x="171" y="137"/>
                  </a:cubicBezTo>
                  <a:cubicBezTo>
                    <a:pt x="169" y="163"/>
                    <a:pt x="154" y="183"/>
                    <a:pt x="154" y="183"/>
                  </a:cubicBezTo>
                  <a:cubicBezTo>
                    <a:pt x="152" y="185"/>
                    <a:pt x="152" y="188"/>
                    <a:pt x="154" y="189"/>
                  </a:cubicBezTo>
                  <a:cubicBezTo>
                    <a:pt x="155" y="191"/>
                    <a:pt x="157" y="191"/>
                    <a:pt x="159" y="191"/>
                  </a:cubicBezTo>
                  <a:cubicBezTo>
                    <a:pt x="184" y="179"/>
                    <a:pt x="200" y="164"/>
                    <a:pt x="208" y="143"/>
                  </a:cubicBezTo>
                  <a:cubicBezTo>
                    <a:pt x="213" y="142"/>
                    <a:pt x="218" y="142"/>
                    <a:pt x="224" y="141"/>
                  </a:cubicBezTo>
                  <a:cubicBezTo>
                    <a:pt x="236" y="163"/>
                    <a:pt x="261" y="177"/>
                    <a:pt x="289" y="179"/>
                  </a:cubicBezTo>
                  <a:cubicBezTo>
                    <a:pt x="295" y="193"/>
                    <a:pt x="306" y="205"/>
                    <a:pt x="321" y="216"/>
                  </a:cubicBezTo>
                  <a:close/>
                  <a:moveTo>
                    <a:pt x="292" y="170"/>
                  </a:moveTo>
                  <a:cubicBezTo>
                    <a:pt x="265" y="169"/>
                    <a:pt x="241" y="155"/>
                    <a:pt x="230" y="133"/>
                  </a:cubicBezTo>
                  <a:cubicBezTo>
                    <a:pt x="229" y="131"/>
                    <a:pt x="228" y="130"/>
                    <a:pt x="226" y="130"/>
                  </a:cubicBezTo>
                  <a:cubicBezTo>
                    <a:pt x="226" y="130"/>
                    <a:pt x="225" y="130"/>
                    <a:pt x="225" y="131"/>
                  </a:cubicBezTo>
                  <a:cubicBezTo>
                    <a:pt x="218" y="132"/>
                    <a:pt x="211" y="133"/>
                    <a:pt x="204" y="133"/>
                  </a:cubicBezTo>
                  <a:cubicBezTo>
                    <a:pt x="202" y="133"/>
                    <a:pt x="200" y="135"/>
                    <a:pt x="199" y="137"/>
                  </a:cubicBezTo>
                  <a:cubicBezTo>
                    <a:pt x="199" y="138"/>
                    <a:pt x="199" y="138"/>
                    <a:pt x="199" y="139"/>
                  </a:cubicBezTo>
                  <a:cubicBezTo>
                    <a:pt x="194" y="154"/>
                    <a:pt x="185" y="165"/>
                    <a:pt x="170" y="175"/>
                  </a:cubicBezTo>
                  <a:cubicBezTo>
                    <a:pt x="175" y="165"/>
                    <a:pt x="180" y="150"/>
                    <a:pt x="180" y="134"/>
                  </a:cubicBezTo>
                  <a:cubicBezTo>
                    <a:pt x="180" y="134"/>
                    <a:pt x="180" y="134"/>
                    <a:pt x="180" y="134"/>
                  </a:cubicBezTo>
                  <a:cubicBezTo>
                    <a:pt x="180" y="132"/>
                    <a:pt x="179" y="130"/>
                    <a:pt x="177" y="129"/>
                  </a:cubicBezTo>
                  <a:cubicBezTo>
                    <a:pt x="149" y="120"/>
                    <a:pt x="131" y="97"/>
                    <a:pt x="131" y="71"/>
                  </a:cubicBezTo>
                  <a:cubicBezTo>
                    <a:pt x="131" y="37"/>
                    <a:pt x="164" y="9"/>
                    <a:pt x="203" y="9"/>
                  </a:cubicBezTo>
                  <a:cubicBezTo>
                    <a:pt x="232" y="9"/>
                    <a:pt x="258" y="24"/>
                    <a:pt x="269" y="47"/>
                  </a:cubicBezTo>
                  <a:cubicBezTo>
                    <a:pt x="270" y="48"/>
                    <a:pt x="273" y="49"/>
                    <a:pt x="275" y="49"/>
                  </a:cubicBezTo>
                  <a:cubicBezTo>
                    <a:pt x="282" y="47"/>
                    <a:pt x="289" y="46"/>
                    <a:pt x="296" y="46"/>
                  </a:cubicBezTo>
                  <a:cubicBezTo>
                    <a:pt x="336" y="46"/>
                    <a:pt x="368" y="74"/>
                    <a:pt x="368" y="108"/>
                  </a:cubicBezTo>
                  <a:cubicBezTo>
                    <a:pt x="368" y="137"/>
                    <a:pt x="346" y="162"/>
                    <a:pt x="314" y="169"/>
                  </a:cubicBezTo>
                  <a:cubicBezTo>
                    <a:pt x="312" y="169"/>
                    <a:pt x="310" y="171"/>
                    <a:pt x="310" y="173"/>
                  </a:cubicBezTo>
                  <a:cubicBezTo>
                    <a:pt x="311" y="183"/>
                    <a:pt x="312" y="191"/>
                    <a:pt x="314" y="198"/>
                  </a:cubicBezTo>
                  <a:cubicBezTo>
                    <a:pt x="306" y="190"/>
                    <a:pt x="300" y="182"/>
                    <a:pt x="296" y="173"/>
                  </a:cubicBezTo>
                  <a:cubicBezTo>
                    <a:pt x="296" y="171"/>
                    <a:pt x="294" y="170"/>
                    <a:pt x="292" y="170"/>
                  </a:cubicBezTo>
                  <a:close/>
                  <a:moveTo>
                    <a:pt x="433" y="312"/>
                  </a:moveTo>
                  <a:cubicBezTo>
                    <a:pt x="422" y="309"/>
                    <a:pt x="418" y="290"/>
                    <a:pt x="418" y="279"/>
                  </a:cubicBezTo>
                  <a:cubicBezTo>
                    <a:pt x="429" y="267"/>
                    <a:pt x="436" y="250"/>
                    <a:pt x="436" y="232"/>
                  </a:cubicBezTo>
                  <a:cubicBezTo>
                    <a:pt x="436" y="195"/>
                    <a:pt x="418" y="171"/>
                    <a:pt x="390" y="171"/>
                  </a:cubicBezTo>
                  <a:cubicBezTo>
                    <a:pt x="361" y="171"/>
                    <a:pt x="343" y="195"/>
                    <a:pt x="343" y="232"/>
                  </a:cubicBezTo>
                  <a:cubicBezTo>
                    <a:pt x="343" y="251"/>
                    <a:pt x="351" y="268"/>
                    <a:pt x="362" y="279"/>
                  </a:cubicBezTo>
                  <a:cubicBezTo>
                    <a:pt x="362" y="293"/>
                    <a:pt x="357" y="308"/>
                    <a:pt x="348" y="311"/>
                  </a:cubicBezTo>
                  <a:cubicBezTo>
                    <a:pt x="304" y="320"/>
                    <a:pt x="295" y="342"/>
                    <a:pt x="295" y="359"/>
                  </a:cubicBezTo>
                  <a:cubicBezTo>
                    <a:pt x="295" y="362"/>
                    <a:pt x="297" y="364"/>
                    <a:pt x="299" y="364"/>
                  </a:cubicBezTo>
                  <a:cubicBezTo>
                    <a:pt x="480" y="364"/>
                    <a:pt x="480" y="364"/>
                    <a:pt x="480" y="364"/>
                  </a:cubicBezTo>
                  <a:cubicBezTo>
                    <a:pt x="483" y="364"/>
                    <a:pt x="485" y="362"/>
                    <a:pt x="485" y="359"/>
                  </a:cubicBezTo>
                  <a:cubicBezTo>
                    <a:pt x="485" y="343"/>
                    <a:pt x="476" y="321"/>
                    <a:pt x="433" y="312"/>
                  </a:cubicBezTo>
                  <a:close/>
                  <a:moveTo>
                    <a:pt x="353" y="232"/>
                  </a:moveTo>
                  <a:cubicBezTo>
                    <a:pt x="353" y="185"/>
                    <a:pt x="381" y="181"/>
                    <a:pt x="390" y="181"/>
                  </a:cubicBezTo>
                  <a:cubicBezTo>
                    <a:pt x="398" y="181"/>
                    <a:pt x="427" y="185"/>
                    <a:pt x="427" y="232"/>
                  </a:cubicBezTo>
                  <a:cubicBezTo>
                    <a:pt x="427" y="261"/>
                    <a:pt x="407" y="283"/>
                    <a:pt x="390" y="283"/>
                  </a:cubicBezTo>
                  <a:cubicBezTo>
                    <a:pt x="372" y="283"/>
                    <a:pt x="353" y="261"/>
                    <a:pt x="353" y="232"/>
                  </a:cubicBezTo>
                  <a:close/>
                  <a:moveTo>
                    <a:pt x="304" y="355"/>
                  </a:moveTo>
                  <a:cubicBezTo>
                    <a:pt x="307" y="338"/>
                    <a:pt x="322" y="326"/>
                    <a:pt x="350" y="320"/>
                  </a:cubicBezTo>
                  <a:cubicBezTo>
                    <a:pt x="350" y="320"/>
                    <a:pt x="350" y="320"/>
                    <a:pt x="350" y="320"/>
                  </a:cubicBezTo>
                  <a:cubicBezTo>
                    <a:pt x="363" y="316"/>
                    <a:pt x="369" y="301"/>
                    <a:pt x="371" y="286"/>
                  </a:cubicBezTo>
                  <a:cubicBezTo>
                    <a:pt x="377" y="290"/>
                    <a:pt x="383" y="292"/>
                    <a:pt x="390" y="292"/>
                  </a:cubicBezTo>
                  <a:cubicBezTo>
                    <a:pt x="397" y="292"/>
                    <a:pt x="403" y="290"/>
                    <a:pt x="409" y="286"/>
                  </a:cubicBezTo>
                  <a:cubicBezTo>
                    <a:pt x="411" y="302"/>
                    <a:pt x="417" y="317"/>
                    <a:pt x="431" y="321"/>
                  </a:cubicBezTo>
                  <a:cubicBezTo>
                    <a:pt x="431" y="321"/>
                    <a:pt x="431" y="321"/>
                    <a:pt x="431" y="321"/>
                  </a:cubicBezTo>
                  <a:cubicBezTo>
                    <a:pt x="458" y="326"/>
                    <a:pt x="473" y="338"/>
                    <a:pt x="475" y="355"/>
                  </a:cubicBezTo>
                  <a:lnTo>
                    <a:pt x="304" y="355"/>
                  </a:lnTo>
                  <a:close/>
                  <a:moveTo>
                    <a:pt x="206" y="57"/>
                  </a:moveTo>
                  <a:cubicBezTo>
                    <a:pt x="197" y="57"/>
                    <a:pt x="189" y="65"/>
                    <a:pt x="189" y="74"/>
                  </a:cubicBezTo>
                  <a:cubicBezTo>
                    <a:pt x="189" y="83"/>
                    <a:pt x="197" y="91"/>
                    <a:pt x="206" y="91"/>
                  </a:cubicBezTo>
                  <a:cubicBezTo>
                    <a:pt x="215" y="91"/>
                    <a:pt x="223" y="83"/>
                    <a:pt x="223" y="74"/>
                  </a:cubicBezTo>
                  <a:cubicBezTo>
                    <a:pt x="223" y="65"/>
                    <a:pt x="215" y="57"/>
                    <a:pt x="206" y="57"/>
                  </a:cubicBezTo>
                  <a:close/>
                  <a:moveTo>
                    <a:pt x="206" y="81"/>
                  </a:moveTo>
                  <a:cubicBezTo>
                    <a:pt x="202" y="81"/>
                    <a:pt x="199" y="78"/>
                    <a:pt x="199" y="74"/>
                  </a:cubicBezTo>
                  <a:cubicBezTo>
                    <a:pt x="199" y="70"/>
                    <a:pt x="202" y="66"/>
                    <a:pt x="206" y="66"/>
                  </a:cubicBezTo>
                  <a:cubicBezTo>
                    <a:pt x="210" y="66"/>
                    <a:pt x="214" y="70"/>
                    <a:pt x="214" y="74"/>
                  </a:cubicBezTo>
                  <a:cubicBezTo>
                    <a:pt x="214" y="78"/>
                    <a:pt x="210" y="81"/>
                    <a:pt x="206" y="81"/>
                  </a:cubicBezTo>
                  <a:close/>
                  <a:moveTo>
                    <a:pt x="260" y="74"/>
                  </a:moveTo>
                  <a:cubicBezTo>
                    <a:pt x="260" y="65"/>
                    <a:pt x="252" y="57"/>
                    <a:pt x="243" y="57"/>
                  </a:cubicBezTo>
                  <a:cubicBezTo>
                    <a:pt x="234" y="57"/>
                    <a:pt x="226" y="65"/>
                    <a:pt x="226" y="74"/>
                  </a:cubicBezTo>
                  <a:cubicBezTo>
                    <a:pt x="226" y="83"/>
                    <a:pt x="234" y="91"/>
                    <a:pt x="243" y="91"/>
                  </a:cubicBezTo>
                  <a:cubicBezTo>
                    <a:pt x="252" y="91"/>
                    <a:pt x="260" y="83"/>
                    <a:pt x="260" y="74"/>
                  </a:cubicBezTo>
                  <a:close/>
                  <a:moveTo>
                    <a:pt x="243" y="81"/>
                  </a:moveTo>
                  <a:cubicBezTo>
                    <a:pt x="239" y="81"/>
                    <a:pt x="236" y="78"/>
                    <a:pt x="236" y="74"/>
                  </a:cubicBezTo>
                  <a:cubicBezTo>
                    <a:pt x="236" y="70"/>
                    <a:pt x="239" y="66"/>
                    <a:pt x="243" y="66"/>
                  </a:cubicBezTo>
                  <a:cubicBezTo>
                    <a:pt x="247" y="66"/>
                    <a:pt x="250" y="70"/>
                    <a:pt x="250" y="74"/>
                  </a:cubicBezTo>
                  <a:cubicBezTo>
                    <a:pt x="250" y="78"/>
                    <a:pt x="247" y="81"/>
                    <a:pt x="243" y="81"/>
                  </a:cubicBezTo>
                  <a:close/>
                  <a:moveTo>
                    <a:pt x="336" y="126"/>
                  </a:moveTo>
                  <a:cubicBezTo>
                    <a:pt x="345" y="126"/>
                    <a:pt x="353" y="118"/>
                    <a:pt x="353" y="109"/>
                  </a:cubicBezTo>
                  <a:cubicBezTo>
                    <a:pt x="353" y="100"/>
                    <a:pt x="345" y="92"/>
                    <a:pt x="336" y="92"/>
                  </a:cubicBezTo>
                  <a:cubicBezTo>
                    <a:pt x="327" y="92"/>
                    <a:pt x="319" y="100"/>
                    <a:pt x="319" y="109"/>
                  </a:cubicBezTo>
                  <a:cubicBezTo>
                    <a:pt x="319" y="118"/>
                    <a:pt x="327" y="126"/>
                    <a:pt x="336" y="126"/>
                  </a:cubicBezTo>
                  <a:close/>
                  <a:moveTo>
                    <a:pt x="336" y="102"/>
                  </a:moveTo>
                  <a:cubicBezTo>
                    <a:pt x="340" y="102"/>
                    <a:pt x="343" y="105"/>
                    <a:pt x="343" y="109"/>
                  </a:cubicBezTo>
                  <a:cubicBezTo>
                    <a:pt x="343" y="113"/>
                    <a:pt x="340" y="117"/>
                    <a:pt x="336" y="117"/>
                  </a:cubicBezTo>
                  <a:cubicBezTo>
                    <a:pt x="332" y="117"/>
                    <a:pt x="329" y="113"/>
                    <a:pt x="329" y="109"/>
                  </a:cubicBezTo>
                  <a:cubicBezTo>
                    <a:pt x="329" y="105"/>
                    <a:pt x="332" y="102"/>
                    <a:pt x="336" y="10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grpSp>
        <p:nvGrpSpPr>
          <p:cNvPr id="62" name="Gruppieren 61"/>
          <p:cNvGrpSpPr/>
          <p:nvPr/>
        </p:nvGrpSpPr>
        <p:grpSpPr>
          <a:xfrm>
            <a:off x="2741799" y="1900194"/>
            <a:ext cx="775266" cy="767590"/>
            <a:chOff x="5725917" y="623263"/>
            <a:chExt cx="822960" cy="822960"/>
          </a:xfrm>
        </p:grpSpPr>
        <p:sp>
          <p:nvSpPr>
            <p:cNvPr id="22" name="Oval 10"/>
            <p:cNvSpPr>
              <a:spLocks noChangeArrowheads="1"/>
            </p:cNvSpPr>
            <p:nvPr/>
          </p:nvSpPr>
          <p:spPr bwMode="auto">
            <a:xfrm>
              <a:off x="5725917" y="623263"/>
              <a:ext cx="822960" cy="82296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3" name="Freeform 35"/>
            <p:cNvSpPr>
              <a:spLocks noEditPoints="1"/>
            </p:cNvSpPr>
            <p:nvPr/>
          </p:nvSpPr>
          <p:spPr bwMode="auto">
            <a:xfrm>
              <a:off x="5833366" y="863903"/>
              <a:ext cx="609039" cy="291892"/>
            </a:xfrm>
            <a:custGeom>
              <a:avLst/>
              <a:gdLst>
                <a:gd name="T0" fmla="*/ 439 w 528"/>
                <a:gd name="T1" fmla="*/ 140 h 253"/>
                <a:gd name="T2" fmla="*/ 403 w 528"/>
                <a:gd name="T3" fmla="*/ 0 h 253"/>
                <a:gd name="T4" fmla="*/ 368 w 528"/>
                <a:gd name="T5" fmla="*/ 141 h 253"/>
                <a:gd name="T6" fmla="*/ 278 w 528"/>
                <a:gd name="T7" fmla="*/ 248 h 253"/>
                <a:gd name="T8" fmla="*/ 523 w 528"/>
                <a:gd name="T9" fmla="*/ 253 h 253"/>
                <a:gd name="T10" fmla="*/ 460 w 528"/>
                <a:gd name="T11" fmla="*/ 186 h 253"/>
                <a:gd name="T12" fmla="*/ 403 w 528"/>
                <a:gd name="T13" fmla="*/ 10 h 253"/>
                <a:gd name="T14" fmla="*/ 403 w 528"/>
                <a:gd name="T15" fmla="*/ 148 h 253"/>
                <a:gd name="T16" fmla="*/ 288 w 528"/>
                <a:gd name="T17" fmla="*/ 243 h 253"/>
                <a:gd name="T18" fmla="*/ 350 w 528"/>
                <a:gd name="T19" fmla="*/ 195 h 253"/>
                <a:gd name="T20" fmla="*/ 403 w 528"/>
                <a:gd name="T21" fmla="*/ 157 h 253"/>
                <a:gd name="T22" fmla="*/ 457 w 528"/>
                <a:gd name="T23" fmla="*/ 195 h 253"/>
                <a:gd name="T24" fmla="*/ 518 w 528"/>
                <a:gd name="T25" fmla="*/ 243 h 253"/>
                <a:gd name="T26" fmla="*/ 319 w 528"/>
                <a:gd name="T27" fmla="*/ 94 h 253"/>
                <a:gd name="T28" fmla="*/ 334 w 528"/>
                <a:gd name="T29" fmla="*/ 79 h 253"/>
                <a:gd name="T30" fmla="*/ 319 w 528"/>
                <a:gd name="T31" fmla="*/ 64 h 253"/>
                <a:gd name="T32" fmla="*/ 304 w 528"/>
                <a:gd name="T33" fmla="*/ 79 h 253"/>
                <a:gd name="T34" fmla="*/ 319 w 528"/>
                <a:gd name="T35" fmla="*/ 94 h 253"/>
                <a:gd name="T36" fmla="*/ 319 w 528"/>
                <a:gd name="T37" fmla="*/ 73 h 253"/>
                <a:gd name="T38" fmla="*/ 325 w 528"/>
                <a:gd name="T39" fmla="*/ 79 h 253"/>
                <a:gd name="T40" fmla="*/ 315 w 528"/>
                <a:gd name="T41" fmla="*/ 83 h 253"/>
                <a:gd name="T42" fmla="*/ 315 w 528"/>
                <a:gd name="T43" fmla="*/ 75 h 253"/>
                <a:gd name="T44" fmla="*/ 160 w 528"/>
                <a:gd name="T45" fmla="*/ 140 h 253"/>
                <a:gd name="T46" fmla="*/ 124 w 528"/>
                <a:gd name="T47" fmla="*/ 0 h 253"/>
                <a:gd name="T48" fmla="*/ 89 w 528"/>
                <a:gd name="T49" fmla="*/ 141 h 253"/>
                <a:gd name="T50" fmla="*/ 0 w 528"/>
                <a:gd name="T51" fmla="*/ 248 h 253"/>
                <a:gd name="T52" fmla="*/ 244 w 528"/>
                <a:gd name="T53" fmla="*/ 253 h 253"/>
                <a:gd name="T54" fmla="*/ 181 w 528"/>
                <a:gd name="T55" fmla="*/ 186 h 253"/>
                <a:gd name="T56" fmla="*/ 124 w 528"/>
                <a:gd name="T57" fmla="*/ 10 h 253"/>
                <a:gd name="T58" fmla="*/ 124 w 528"/>
                <a:gd name="T59" fmla="*/ 148 h 253"/>
                <a:gd name="T60" fmla="*/ 9 w 528"/>
                <a:gd name="T61" fmla="*/ 243 h 253"/>
                <a:gd name="T62" fmla="*/ 72 w 528"/>
                <a:gd name="T63" fmla="*/ 195 h 253"/>
                <a:gd name="T64" fmla="*/ 124 w 528"/>
                <a:gd name="T65" fmla="*/ 157 h 253"/>
                <a:gd name="T66" fmla="*/ 179 w 528"/>
                <a:gd name="T67" fmla="*/ 195 h 253"/>
                <a:gd name="T68" fmla="*/ 239 w 528"/>
                <a:gd name="T69" fmla="*/ 243 h 253"/>
                <a:gd name="T70" fmla="*/ 297 w 528"/>
                <a:gd name="T71" fmla="*/ 79 h 253"/>
                <a:gd name="T72" fmla="*/ 267 w 528"/>
                <a:gd name="T73" fmla="*/ 79 h 253"/>
                <a:gd name="T74" fmla="*/ 297 w 528"/>
                <a:gd name="T75" fmla="*/ 79 h 253"/>
                <a:gd name="T76" fmla="*/ 282 w 528"/>
                <a:gd name="T77" fmla="*/ 73 h 253"/>
                <a:gd name="T78" fmla="*/ 282 w 528"/>
                <a:gd name="T79" fmla="*/ 84 h 253"/>
                <a:gd name="T80" fmla="*/ 245 w 528"/>
                <a:gd name="T81" fmla="*/ 63 h 253"/>
                <a:gd name="T82" fmla="*/ 245 w 528"/>
                <a:gd name="T83" fmla="*/ 94 h 253"/>
                <a:gd name="T84" fmla="*/ 245 w 528"/>
                <a:gd name="T85" fmla="*/ 63 h 253"/>
                <a:gd name="T86" fmla="*/ 239 w 528"/>
                <a:gd name="T87" fmla="*/ 79 h 253"/>
                <a:gd name="T88" fmla="*/ 251 w 528"/>
                <a:gd name="T89" fmla="*/ 79 h 253"/>
                <a:gd name="T90" fmla="*/ 208 w 528"/>
                <a:gd name="T91" fmla="*/ 94 h 253"/>
                <a:gd name="T92" fmla="*/ 223 w 528"/>
                <a:gd name="T93" fmla="*/ 79 h 253"/>
                <a:gd name="T94" fmla="*/ 208 w 528"/>
                <a:gd name="T95" fmla="*/ 64 h 253"/>
                <a:gd name="T96" fmla="*/ 193 w 528"/>
                <a:gd name="T97" fmla="*/ 79 h 253"/>
                <a:gd name="T98" fmla="*/ 208 w 528"/>
                <a:gd name="T99" fmla="*/ 94 h 253"/>
                <a:gd name="T100" fmla="*/ 208 w 528"/>
                <a:gd name="T101" fmla="*/ 73 h 253"/>
                <a:gd name="T102" fmla="*/ 214 w 528"/>
                <a:gd name="T103" fmla="*/ 79 h 253"/>
                <a:gd name="T104" fmla="*/ 204 w 528"/>
                <a:gd name="T105" fmla="*/ 83 h 253"/>
                <a:gd name="T106" fmla="*/ 204 w 528"/>
                <a:gd name="T107" fmla="*/ 75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28" h="253">
                  <a:moveTo>
                    <a:pt x="460" y="186"/>
                  </a:moveTo>
                  <a:cubicBezTo>
                    <a:pt x="444" y="182"/>
                    <a:pt x="439" y="156"/>
                    <a:pt x="439" y="140"/>
                  </a:cubicBezTo>
                  <a:cubicBezTo>
                    <a:pt x="453" y="126"/>
                    <a:pt x="463" y="103"/>
                    <a:pt x="463" y="79"/>
                  </a:cubicBezTo>
                  <a:cubicBezTo>
                    <a:pt x="463" y="30"/>
                    <a:pt x="440" y="0"/>
                    <a:pt x="403" y="0"/>
                  </a:cubicBezTo>
                  <a:cubicBezTo>
                    <a:pt x="366" y="0"/>
                    <a:pt x="343" y="30"/>
                    <a:pt x="343" y="79"/>
                  </a:cubicBezTo>
                  <a:cubicBezTo>
                    <a:pt x="343" y="103"/>
                    <a:pt x="353" y="126"/>
                    <a:pt x="368" y="141"/>
                  </a:cubicBezTo>
                  <a:cubicBezTo>
                    <a:pt x="367" y="159"/>
                    <a:pt x="362" y="181"/>
                    <a:pt x="348" y="186"/>
                  </a:cubicBezTo>
                  <a:cubicBezTo>
                    <a:pt x="302" y="195"/>
                    <a:pt x="278" y="216"/>
                    <a:pt x="278" y="248"/>
                  </a:cubicBezTo>
                  <a:cubicBezTo>
                    <a:pt x="278" y="251"/>
                    <a:pt x="280" y="253"/>
                    <a:pt x="283" y="253"/>
                  </a:cubicBezTo>
                  <a:cubicBezTo>
                    <a:pt x="523" y="253"/>
                    <a:pt x="523" y="253"/>
                    <a:pt x="523" y="253"/>
                  </a:cubicBezTo>
                  <a:cubicBezTo>
                    <a:pt x="525" y="253"/>
                    <a:pt x="528" y="251"/>
                    <a:pt x="528" y="248"/>
                  </a:cubicBezTo>
                  <a:cubicBezTo>
                    <a:pt x="528" y="217"/>
                    <a:pt x="504" y="195"/>
                    <a:pt x="460" y="186"/>
                  </a:cubicBezTo>
                  <a:close/>
                  <a:moveTo>
                    <a:pt x="352" y="79"/>
                  </a:moveTo>
                  <a:cubicBezTo>
                    <a:pt x="352" y="45"/>
                    <a:pt x="366" y="10"/>
                    <a:pt x="403" y="10"/>
                  </a:cubicBezTo>
                  <a:cubicBezTo>
                    <a:pt x="440" y="10"/>
                    <a:pt x="453" y="45"/>
                    <a:pt x="453" y="79"/>
                  </a:cubicBezTo>
                  <a:cubicBezTo>
                    <a:pt x="453" y="118"/>
                    <a:pt x="427" y="148"/>
                    <a:pt x="403" y="148"/>
                  </a:cubicBezTo>
                  <a:cubicBezTo>
                    <a:pt x="379" y="148"/>
                    <a:pt x="352" y="118"/>
                    <a:pt x="352" y="79"/>
                  </a:cubicBezTo>
                  <a:close/>
                  <a:moveTo>
                    <a:pt x="288" y="243"/>
                  </a:moveTo>
                  <a:cubicBezTo>
                    <a:pt x="290" y="219"/>
                    <a:pt x="311" y="202"/>
                    <a:pt x="350" y="195"/>
                  </a:cubicBezTo>
                  <a:cubicBezTo>
                    <a:pt x="350" y="195"/>
                    <a:pt x="350" y="195"/>
                    <a:pt x="350" y="195"/>
                  </a:cubicBezTo>
                  <a:cubicBezTo>
                    <a:pt x="367" y="189"/>
                    <a:pt x="375" y="169"/>
                    <a:pt x="377" y="148"/>
                  </a:cubicBezTo>
                  <a:cubicBezTo>
                    <a:pt x="385" y="154"/>
                    <a:pt x="394" y="157"/>
                    <a:pt x="403" y="157"/>
                  </a:cubicBezTo>
                  <a:cubicBezTo>
                    <a:pt x="412" y="157"/>
                    <a:pt x="422" y="154"/>
                    <a:pt x="430" y="148"/>
                  </a:cubicBezTo>
                  <a:cubicBezTo>
                    <a:pt x="433" y="186"/>
                    <a:pt x="453" y="194"/>
                    <a:pt x="457" y="195"/>
                  </a:cubicBezTo>
                  <a:cubicBezTo>
                    <a:pt x="458" y="195"/>
                    <a:pt x="458" y="195"/>
                    <a:pt x="458" y="195"/>
                  </a:cubicBezTo>
                  <a:cubicBezTo>
                    <a:pt x="495" y="203"/>
                    <a:pt x="516" y="219"/>
                    <a:pt x="518" y="243"/>
                  </a:cubicBezTo>
                  <a:lnTo>
                    <a:pt x="288" y="243"/>
                  </a:lnTo>
                  <a:close/>
                  <a:moveTo>
                    <a:pt x="319" y="94"/>
                  </a:moveTo>
                  <a:cubicBezTo>
                    <a:pt x="323" y="94"/>
                    <a:pt x="327" y="92"/>
                    <a:pt x="330" y="89"/>
                  </a:cubicBezTo>
                  <a:cubicBezTo>
                    <a:pt x="332" y="86"/>
                    <a:pt x="334" y="83"/>
                    <a:pt x="334" y="79"/>
                  </a:cubicBezTo>
                  <a:cubicBezTo>
                    <a:pt x="334" y="75"/>
                    <a:pt x="332" y="71"/>
                    <a:pt x="330" y="68"/>
                  </a:cubicBezTo>
                  <a:cubicBezTo>
                    <a:pt x="327" y="65"/>
                    <a:pt x="323" y="64"/>
                    <a:pt x="319" y="64"/>
                  </a:cubicBezTo>
                  <a:cubicBezTo>
                    <a:pt x="315" y="64"/>
                    <a:pt x="311" y="65"/>
                    <a:pt x="308" y="68"/>
                  </a:cubicBezTo>
                  <a:cubicBezTo>
                    <a:pt x="305" y="71"/>
                    <a:pt x="304" y="75"/>
                    <a:pt x="304" y="79"/>
                  </a:cubicBezTo>
                  <a:cubicBezTo>
                    <a:pt x="304" y="83"/>
                    <a:pt x="305" y="86"/>
                    <a:pt x="308" y="89"/>
                  </a:cubicBezTo>
                  <a:cubicBezTo>
                    <a:pt x="311" y="92"/>
                    <a:pt x="315" y="94"/>
                    <a:pt x="319" y="94"/>
                  </a:cubicBezTo>
                  <a:close/>
                  <a:moveTo>
                    <a:pt x="315" y="75"/>
                  </a:moveTo>
                  <a:cubicBezTo>
                    <a:pt x="316" y="74"/>
                    <a:pt x="317" y="73"/>
                    <a:pt x="319" y="73"/>
                  </a:cubicBezTo>
                  <a:cubicBezTo>
                    <a:pt x="320" y="73"/>
                    <a:pt x="322" y="74"/>
                    <a:pt x="323" y="75"/>
                  </a:cubicBezTo>
                  <a:cubicBezTo>
                    <a:pt x="324" y="76"/>
                    <a:pt x="325" y="77"/>
                    <a:pt x="325" y="79"/>
                  </a:cubicBezTo>
                  <a:cubicBezTo>
                    <a:pt x="325" y="80"/>
                    <a:pt x="324" y="82"/>
                    <a:pt x="323" y="83"/>
                  </a:cubicBezTo>
                  <a:cubicBezTo>
                    <a:pt x="321" y="85"/>
                    <a:pt x="317" y="85"/>
                    <a:pt x="315" y="83"/>
                  </a:cubicBezTo>
                  <a:cubicBezTo>
                    <a:pt x="314" y="82"/>
                    <a:pt x="313" y="80"/>
                    <a:pt x="313" y="79"/>
                  </a:cubicBezTo>
                  <a:cubicBezTo>
                    <a:pt x="313" y="77"/>
                    <a:pt x="314" y="76"/>
                    <a:pt x="315" y="75"/>
                  </a:cubicBezTo>
                  <a:close/>
                  <a:moveTo>
                    <a:pt x="181" y="186"/>
                  </a:moveTo>
                  <a:cubicBezTo>
                    <a:pt x="165" y="182"/>
                    <a:pt x="161" y="156"/>
                    <a:pt x="160" y="140"/>
                  </a:cubicBezTo>
                  <a:cubicBezTo>
                    <a:pt x="175" y="126"/>
                    <a:pt x="184" y="103"/>
                    <a:pt x="184" y="79"/>
                  </a:cubicBezTo>
                  <a:cubicBezTo>
                    <a:pt x="184" y="30"/>
                    <a:pt x="161" y="0"/>
                    <a:pt x="124" y="0"/>
                  </a:cubicBezTo>
                  <a:cubicBezTo>
                    <a:pt x="87" y="0"/>
                    <a:pt x="64" y="30"/>
                    <a:pt x="64" y="79"/>
                  </a:cubicBezTo>
                  <a:cubicBezTo>
                    <a:pt x="64" y="103"/>
                    <a:pt x="74" y="126"/>
                    <a:pt x="89" y="141"/>
                  </a:cubicBezTo>
                  <a:cubicBezTo>
                    <a:pt x="89" y="159"/>
                    <a:pt x="83" y="181"/>
                    <a:pt x="69" y="186"/>
                  </a:cubicBezTo>
                  <a:cubicBezTo>
                    <a:pt x="24" y="195"/>
                    <a:pt x="0" y="216"/>
                    <a:pt x="0" y="248"/>
                  </a:cubicBezTo>
                  <a:cubicBezTo>
                    <a:pt x="0" y="251"/>
                    <a:pt x="2" y="253"/>
                    <a:pt x="4" y="253"/>
                  </a:cubicBezTo>
                  <a:cubicBezTo>
                    <a:pt x="244" y="253"/>
                    <a:pt x="244" y="253"/>
                    <a:pt x="244" y="253"/>
                  </a:cubicBezTo>
                  <a:cubicBezTo>
                    <a:pt x="247" y="253"/>
                    <a:pt x="249" y="251"/>
                    <a:pt x="249" y="248"/>
                  </a:cubicBezTo>
                  <a:cubicBezTo>
                    <a:pt x="249" y="217"/>
                    <a:pt x="226" y="195"/>
                    <a:pt x="181" y="186"/>
                  </a:cubicBezTo>
                  <a:close/>
                  <a:moveTo>
                    <a:pt x="74" y="79"/>
                  </a:moveTo>
                  <a:cubicBezTo>
                    <a:pt x="74" y="45"/>
                    <a:pt x="87" y="10"/>
                    <a:pt x="124" y="10"/>
                  </a:cubicBezTo>
                  <a:cubicBezTo>
                    <a:pt x="161" y="10"/>
                    <a:pt x="175" y="45"/>
                    <a:pt x="175" y="79"/>
                  </a:cubicBezTo>
                  <a:cubicBezTo>
                    <a:pt x="175" y="118"/>
                    <a:pt x="148" y="148"/>
                    <a:pt x="124" y="148"/>
                  </a:cubicBezTo>
                  <a:cubicBezTo>
                    <a:pt x="100" y="148"/>
                    <a:pt x="74" y="118"/>
                    <a:pt x="74" y="79"/>
                  </a:cubicBezTo>
                  <a:close/>
                  <a:moveTo>
                    <a:pt x="9" y="243"/>
                  </a:moveTo>
                  <a:cubicBezTo>
                    <a:pt x="11" y="219"/>
                    <a:pt x="32" y="202"/>
                    <a:pt x="71" y="195"/>
                  </a:cubicBezTo>
                  <a:cubicBezTo>
                    <a:pt x="71" y="195"/>
                    <a:pt x="71" y="195"/>
                    <a:pt x="72" y="195"/>
                  </a:cubicBezTo>
                  <a:cubicBezTo>
                    <a:pt x="89" y="189"/>
                    <a:pt x="96" y="169"/>
                    <a:pt x="98" y="148"/>
                  </a:cubicBezTo>
                  <a:cubicBezTo>
                    <a:pt x="106" y="154"/>
                    <a:pt x="115" y="157"/>
                    <a:pt x="124" y="157"/>
                  </a:cubicBezTo>
                  <a:cubicBezTo>
                    <a:pt x="134" y="157"/>
                    <a:pt x="143" y="154"/>
                    <a:pt x="151" y="148"/>
                  </a:cubicBezTo>
                  <a:cubicBezTo>
                    <a:pt x="154" y="186"/>
                    <a:pt x="174" y="194"/>
                    <a:pt x="179" y="195"/>
                  </a:cubicBezTo>
                  <a:cubicBezTo>
                    <a:pt x="179" y="195"/>
                    <a:pt x="179" y="195"/>
                    <a:pt x="179" y="195"/>
                  </a:cubicBezTo>
                  <a:cubicBezTo>
                    <a:pt x="217" y="203"/>
                    <a:pt x="237" y="219"/>
                    <a:pt x="239" y="243"/>
                  </a:cubicBezTo>
                  <a:lnTo>
                    <a:pt x="9" y="243"/>
                  </a:lnTo>
                  <a:close/>
                  <a:moveTo>
                    <a:pt x="297" y="79"/>
                  </a:moveTo>
                  <a:cubicBezTo>
                    <a:pt x="297" y="70"/>
                    <a:pt x="290" y="63"/>
                    <a:pt x="282" y="63"/>
                  </a:cubicBezTo>
                  <a:cubicBezTo>
                    <a:pt x="274" y="63"/>
                    <a:pt x="267" y="70"/>
                    <a:pt x="267" y="79"/>
                  </a:cubicBezTo>
                  <a:cubicBezTo>
                    <a:pt x="267" y="87"/>
                    <a:pt x="274" y="94"/>
                    <a:pt x="282" y="94"/>
                  </a:cubicBezTo>
                  <a:cubicBezTo>
                    <a:pt x="290" y="94"/>
                    <a:pt x="297" y="87"/>
                    <a:pt x="297" y="79"/>
                  </a:cubicBezTo>
                  <a:close/>
                  <a:moveTo>
                    <a:pt x="276" y="79"/>
                  </a:moveTo>
                  <a:cubicBezTo>
                    <a:pt x="276" y="75"/>
                    <a:pt x="279" y="73"/>
                    <a:pt x="282" y="73"/>
                  </a:cubicBezTo>
                  <a:cubicBezTo>
                    <a:pt x="285" y="73"/>
                    <a:pt x="288" y="75"/>
                    <a:pt x="288" y="79"/>
                  </a:cubicBezTo>
                  <a:cubicBezTo>
                    <a:pt x="288" y="82"/>
                    <a:pt x="285" y="84"/>
                    <a:pt x="282" y="84"/>
                  </a:cubicBezTo>
                  <a:cubicBezTo>
                    <a:pt x="279" y="84"/>
                    <a:pt x="276" y="82"/>
                    <a:pt x="276" y="79"/>
                  </a:cubicBezTo>
                  <a:close/>
                  <a:moveTo>
                    <a:pt x="245" y="63"/>
                  </a:moveTo>
                  <a:cubicBezTo>
                    <a:pt x="237" y="63"/>
                    <a:pt x="230" y="70"/>
                    <a:pt x="230" y="79"/>
                  </a:cubicBezTo>
                  <a:cubicBezTo>
                    <a:pt x="230" y="87"/>
                    <a:pt x="237" y="94"/>
                    <a:pt x="245" y="94"/>
                  </a:cubicBezTo>
                  <a:cubicBezTo>
                    <a:pt x="253" y="94"/>
                    <a:pt x="260" y="87"/>
                    <a:pt x="260" y="79"/>
                  </a:cubicBezTo>
                  <a:cubicBezTo>
                    <a:pt x="260" y="70"/>
                    <a:pt x="253" y="63"/>
                    <a:pt x="245" y="63"/>
                  </a:cubicBezTo>
                  <a:close/>
                  <a:moveTo>
                    <a:pt x="245" y="84"/>
                  </a:moveTo>
                  <a:cubicBezTo>
                    <a:pt x="242" y="84"/>
                    <a:pt x="239" y="82"/>
                    <a:pt x="239" y="79"/>
                  </a:cubicBezTo>
                  <a:cubicBezTo>
                    <a:pt x="239" y="75"/>
                    <a:pt x="242" y="73"/>
                    <a:pt x="245" y="73"/>
                  </a:cubicBezTo>
                  <a:cubicBezTo>
                    <a:pt x="248" y="73"/>
                    <a:pt x="251" y="75"/>
                    <a:pt x="251" y="79"/>
                  </a:cubicBezTo>
                  <a:cubicBezTo>
                    <a:pt x="251" y="82"/>
                    <a:pt x="248" y="84"/>
                    <a:pt x="245" y="84"/>
                  </a:cubicBezTo>
                  <a:close/>
                  <a:moveTo>
                    <a:pt x="208" y="94"/>
                  </a:moveTo>
                  <a:cubicBezTo>
                    <a:pt x="212" y="94"/>
                    <a:pt x="216" y="92"/>
                    <a:pt x="219" y="89"/>
                  </a:cubicBezTo>
                  <a:cubicBezTo>
                    <a:pt x="222" y="86"/>
                    <a:pt x="223" y="83"/>
                    <a:pt x="223" y="79"/>
                  </a:cubicBezTo>
                  <a:cubicBezTo>
                    <a:pt x="223" y="75"/>
                    <a:pt x="222" y="71"/>
                    <a:pt x="219" y="68"/>
                  </a:cubicBezTo>
                  <a:cubicBezTo>
                    <a:pt x="216" y="65"/>
                    <a:pt x="212" y="64"/>
                    <a:pt x="208" y="64"/>
                  </a:cubicBezTo>
                  <a:cubicBezTo>
                    <a:pt x="204" y="64"/>
                    <a:pt x="200" y="65"/>
                    <a:pt x="198" y="68"/>
                  </a:cubicBezTo>
                  <a:cubicBezTo>
                    <a:pt x="195" y="71"/>
                    <a:pt x="193" y="75"/>
                    <a:pt x="193" y="79"/>
                  </a:cubicBezTo>
                  <a:cubicBezTo>
                    <a:pt x="193" y="83"/>
                    <a:pt x="195" y="87"/>
                    <a:pt x="198" y="89"/>
                  </a:cubicBezTo>
                  <a:cubicBezTo>
                    <a:pt x="200" y="92"/>
                    <a:pt x="204" y="94"/>
                    <a:pt x="208" y="94"/>
                  </a:cubicBezTo>
                  <a:close/>
                  <a:moveTo>
                    <a:pt x="204" y="75"/>
                  </a:moveTo>
                  <a:cubicBezTo>
                    <a:pt x="205" y="74"/>
                    <a:pt x="207" y="73"/>
                    <a:pt x="208" y="73"/>
                  </a:cubicBezTo>
                  <a:cubicBezTo>
                    <a:pt x="210" y="73"/>
                    <a:pt x="211" y="74"/>
                    <a:pt x="212" y="75"/>
                  </a:cubicBezTo>
                  <a:cubicBezTo>
                    <a:pt x="213" y="76"/>
                    <a:pt x="214" y="77"/>
                    <a:pt x="214" y="79"/>
                  </a:cubicBezTo>
                  <a:cubicBezTo>
                    <a:pt x="214" y="80"/>
                    <a:pt x="213" y="82"/>
                    <a:pt x="212" y="83"/>
                  </a:cubicBezTo>
                  <a:cubicBezTo>
                    <a:pt x="210" y="85"/>
                    <a:pt x="206" y="85"/>
                    <a:pt x="204" y="83"/>
                  </a:cubicBezTo>
                  <a:cubicBezTo>
                    <a:pt x="203" y="82"/>
                    <a:pt x="202" y="80"/>
                    <a:pt x="202" y="79"/>
                  </a:cubicBezTo>
                  <a:cubicBezTo>
                    <a:pt x="202" y="77"/>
                    <a:pt x="203" y="76"/>
                    <a:pt x="204" y="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grpSp>
        <p:nvGrpSpPr>
          <p:cNvPr id="61" name="Gruppieren 60"/>
          <p:cNvGrpSpPr/>
          <p:nvPr/>
        </p:nvGrpSpPr>
        <p:grpSpPr>
          <a:xfrm>
            <a:off x="6960096" y="889411"/>
            <a:ext cx="775266" cy="767590"/>
            <a:chOff x="9525762" y="1169335"/>
            <a:chExt cx="822960" cy="822960"/>
          </a:xfrm>
        </p:grpSpPr>
        <p:sp>
          <p:nvSpPr>
            <p:cNvPr id="26" name="Oval 25"/>
            <p:cNvSpPr>
              <a:spLocks noChangeArrowheads="1"/>
            </p:cNvSpPr>
            <p:nvPr/>
          </p:nvSpPr>
          <p:spPr bwMode="auto">
            <a:xfrm>
              <a:off x="9525762" y="1169335"/>
              <a:ext cx="822960" cy="82296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7" name="Freeform 121"/>
            <p:cNvSpPr>
              <a:spLocks noEditPoints="1"/>
            </p:cNvSpPr>
            <p:nvPr/>
          </p:nvSpPr>
          <p:spPr bwMode="auto">
            <a:xfrm>
              <a:off x="9719189" y="1344662"/>
              <a:ext cx="437002" cy="436526"/>
            </a:xfrm>
            <a:custGeom>
              <a:avLst/>
              <a:gdLst>
                <a:gd name="T0" fmla="*/ 7 w 564"/>
                <a:gd name="T1" fmla="*/ 564 h 564"/>
                <a:gd name="T2" fmla="*/ 0 w 564"/>
                <a:gd name="T3" fmla="*/ 7 h 564"/>
                <a:gd name="T4" fmla="*/ 14 w 564"/>
                <a:gd name="T5" fmla="*/ 7 h 564"/>
                <a:gd name="T6" fmla="*/ 557 w 564"/>
                <a:gd name="T7" fmla="*/ 550 h 564"/>
                <a:gd name="T8" fmla="*/ 557 w 564"/>
                <a:gd name="T9" fmla="*/ 564 h 564"/>
                <a:gd name="T10" fmla="*/ 107 w 564"/>
                <a:gd name="T11" fmla="*/ 373 h 564"/>
                <a:gd name="T12" fmla="*/ 107 w 564"/>
                <a:gd name="T13" fmla="*/ 456 h 564"/>
                <a:gd name="T14" fmla="*/ 134 w 564"/>
                <a:gd name="T15" fmla="*/ 414 h 564"/>
                <a:gd name="T16" fmla="*/ 79 w 564"/>
                <a:gd name="T17" fmla="*/ 414 h 564"/>
                <a:gd name="T18" fmla="*/ 134 w 564"/>
                <a:gd name="T19" fmla="*/ 414 h 564"/>
                <a:gd name="T20" fmla="*/ 467 w 564"/>
                <a:gd name="T21" fmla="*/ 289 h 564"/>
                <a:gd name="T22" fmla="*/ 467 w 564"/>
                <a:gd name="T23" fmla="*/ 373 h 564"/>
                <a:gd name="T24" fmla="*/ 495 w 564"/>
                <a:gd name="T25" fmla="*/ 331 h 564"/>
                <a:gd name="T26" fmla="*/ 439 w 564"/>
                <a:gd name="T27" fmla="*/ 331 h 564"/>
                <a:gd name="T28" fmla="*/ 495 w 564"/>
                <a:gd name="T29" fmla="*/ 331 h 564"/>
                <a:gd name="T30" fmla="*/ 308 w 564"/>
                <a:gd name="T31" fmla="*/ 92 h 564"/>
                <a:gd name="T32" fmla="*/ 308 w 564"/>
                <a:gd name="T33" fmla="*/ 175 h 564"/>
                <a:gd name="T34" fmla="*/ 336 w 564"/>
                <a:gd name="T35" fmla="*/ 134 h 564"/>
                <a:gd name="T36" fmla="*/ 281 w 564"/>
                <a:gd name="T37" fmla="*/ 134 h 564"/>
                <a:gd name="T38" fmla="*/ 336 w 564"/>
                <a:gd name="T39" fmla="*/ 134 h 564"/>
                <a:gd name="T40" fmla="*/ 188 w 564"/>
                <a:gd name="T41" fmla="*/ 338 h 564"/>
                <a:gd name="T42" fmla="*/ 188 w 564"/>
                <a:gd name="T43" fmla="*/ 421 h 564"/>
                <a:gd name="T44" fmla="*/ 215 w 564"/>
                <a:gd name="T45" fmla="*/ 380 h 564"/>
                <a:gd name="T46" fmla="*/ 160 w 564"/>
                <a:gd name="T47" fmla="*/ 380 h 564"/>
                <a:gd name="T48" fmla="*/ 215 w 564"/>
                <a:gd name="T49" fmla="*/ 380 h 564"/>
                <a:gd name="T50" fmla="*/ 408 w 564"/>
                <a:gd name="T51" fmla="*/ 39 h 564"/>
                <a:gd name="T52" fmla="*/ 408 w 564"/>
                <a:gd name="T53" fmla="*/ 122 h 564"/>
                <a:gd name="T54" fmla="*/ 436 w 564"/>
                <a:gd name="T55" fmla="*/ 80 h 564"/>
                <a:gd name="T56" fmla="*/ 380 w 564"/>
                <a:gd name="T57" fmla="*/ 80 h 564"/>
                <a:gd name="T58" fmla="*/ 436 w 564"/>
                <a:gd name="T59" fmla="*/ 80 h 564"/>
                <a:gd name="T60" fmla="*/ 336 w 564"/>
                <a:gd name="T61" fmla="*/ 307 h 564"/>
                <a:gd name="T62" fmla="*/ 336 w 564"/>
                <a:gd name="T63" fmla="*/ 452 h 564"/>
                <a:gd name="T64" fmla="*/ 395 w 564"/>
                <a:gd name="T65" fmla="*/ 380 h 564"/>
                <a:gd name="T66" fmla="*/ 278 w 564"/>
                <a:gd name="T67" fmla="*/ 380 h 564"/>
                <a:gd name="T68" fmla="*/ 395 w 564"/>
                <a:gd name="T69" fmla="*/ 380 h 564"/>
                <a:gd name="T70" fmla="*/ 253 w 564"/>
                <a:gd name="T71" fmla="*/ 172 h 564"/>
                <a:gd name="T72" fmla="*/ 253 w 564"/>
                <a:gd name="T73" fmla="*/ 317 h 564"/>
                <a:gd name="T74" fmla="*/ 312 w 564"/>
                <a:gd name="T75" fmla="*/ 245 h 564"/>
                <a:gd name="T76" fmla="*/ 195 w 564"/>
                <a:gd name="T77" fmla="*/ 245 h 564"/>
                <a:gd name="T78" fmla="*/ 312 w 564"/>
                <a:gd name="T79" fmla="*/ 245 h 564"/>
                <a:gd name="T80" fmla="*/ 467 w 564"/>
                <a:gd name="T81" fmla="*/ 127 h 564"/>
                <a:gd name="T82" fmla="*/ 467 w 564"/>
                <a:gd name="T83" fmla="*/ 272 h 564"/>
                <a:gd name="T84" fmla="*/ 526 w 564"/>
                <a:gd name="T85" fmla="*/ 199 h 564"/>
                <a:gd name="T86" fmla="*/ 409 w 564"/>
                <a:gd name="T87" fmla="*/ 199 h 564"/>
                <a:gd name="T88" fmla="*/ 526 w 564"/>
                <a:gd name="T89" fmla="*/ 199 h 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64" h="564">
                  <a:moveTo>
                    <a:pt x="557" y="564"/>
                  </a:moveTo>
                  <a:cubicBezTo>
                    <a:pt x="7" y="564"/>
                    <a:pt x="7" y="564"/>
                    <a:pt x="7" y="564"/>
                  </a:cubicBezTo>
                  <a:cubicBezTo>
                    <a:pt x="3" y="564"/>
                    <a:pt x="0" y="561"/>
                    <a:pt x="0" y="55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4" y="3"/>
                    <a:pt x="14" y="7"/>
                  </a:cubicBezTo>
                  <a:cubicBezTo>
                    <a:pt x="14" y="550"/>
                    <a:pt x="14" y="550"/>
                    <a:pt x="14" y="550"/>
                  </a:cubicBezTo>
                  <a:cubicBezTo>
                    <a:pt x="557" y="550"/>
                    <a:pt x="557" y="550"/>
                    <a:pt x="557" y="550"/>
                  </a:cubicBezTo>
                  <a:cubicBezTo>
                    <a:pt x="561" y="550"/>
                    <a:pt x="564" y="553"/>
                    <a:pt x="564" y="557"/>
                  </a:cubicBezTo>
                  <a:cubicBezTo>
                    <a:pt x="564" y="561"/>
                    <a:pt x="561" y="564"/>
                    <a:pt x="557" y="564"/>
                  </a:cubicBezTo>
                  <a:close/>
                  <a:moveTo>
                    <a:pt x="148" y="414"/>
                  </a:moveTo>
                  <a:cubicBezTo>
                    <a:pt x="148" y="391"/>
                    <a:pt x="130" y="373"/>
                    <a:pt x="107" y="373"/>
                  </a:cubicBezTo>
                  <a:cubicBezTo>
                    <a:pt x="84" y="373"/>
                    <a:pt x="65" y="391"/>
                    <a:pt x="65" y="414"/>
                  </a:cubicBezTo>
                  <a:cubicBezTo>
                    <a:pt x="65" y="437"/>
                    <a:pt x="84" y="456"/>
                    <a:pt x="107" y="456"/>
                  </a:cubicBezTo>
                  <a:cubicBezTo>
                    <a:pt x="130" y="456"/>
                    <a:pt x="148" y="437"/>
                    <a:pt x="148" y="414"/>
                  </a:cubicBezTo>
                  <a:close/>
                  <a:moveTo>
                    <a:pt x="134" y="414"/>
                  </a:moveTo>
                  <a:cubicBezTo>
                    <a:pt x="134" y="430"/>
                    <a:pt x="122" y="442"/>
                    <a:pt x="107" y="442"/>
                  </a:cubicBezTo>
                  <a:cubicBezTo>
                    <a:pt x="91" y="442"/>
                    <a:pt x="79" y="430"/>
                    <a:pt x="79" y="414"/>
                  </a:cubicBezTo>
                  <a:cubicBezTo>
                    <a:pt x="79" y="399"/>
                    <a:pt x="91" y="387"/>
                    <a:pt x="107" y="387"/>
                  </a:cubicBezTo>
                  <a:cubicBezTo>
                    <a:pt x="122" y="387"/>
                    <a:pt x="134" y="399"/>
                    <a:pt x="134" y="414"/>
                  </a:cubicBezTo>
                  <a:close/>
                  <a:moveTo>
                    <a:pt x="509" y="331"/>
                  </a:moveTo>
                  <a:cubicBezTo>
                    <a:pt x="509" y="308"/>
                    <a:pt x="490" y="289"/>
                    <a:pt x="467" y="289"/>
                  </a:cubicBezTo>
                  <a:cubicBezTo>
                    <a:pt x="444" y="289"/>
                    <a:pt x="425" y="308"/>
                    <a:pt x="425" y="331"/>
                  </a:cubicBezTo>
                  <a:cubicBezTo>
                    <a:pt x="425" y="354"/>
                    <a:pt x="444" y="373"/>
                    <a:pt x="467" y="373"/>
                  </a:cubicBezTo>
                  <a:cubicBezTo>
                    <a:pt x="490" y="373"/>
                    <a:pt x="509" y="354"/>
                    <a:pt x="509" y="331"/>
                  </a:cubicBezTo>
                  <a:close/>
                  <a:moveTo>
                    <a:pt x="495" y="331"/>
                  </a:moveTo>
                  <a:cubicBezTo>
                    <a:pt x="495" y="346"/>
                    <a:pt x="482" y="359"/>
                    <a:pt x="467" y="359"/>
                  </a:cubicBezTo>
                  <a:cubicBezTo>
                    <a:pt x="452" y="359"/>
                    <a:pt x="439" y="346"/>
                    <a:pt x="439" y="331"/>
                  </a:cubicBezTo>
                  <a:cubicBezTo>
                    <a:pt x="439" y="316"/>
                    <a:pt x="452" y="303"/>
                    <a:pt x="467" y="303"/>
                  </a:cubicBezTo>
                  <a:cubicBezTo>
                    <a:pt x="482" y="303"/>
                    <a:pt x="495" y="316"/>
                    <a:pt x="495" y="331"/>
                  </a:cubicBezTo>
                  <a:close/>
                  <a:moveTo>
                    <a:pt x="350" y="134"/>
                  </a:moveTo>
                  <a:cubicBezTo>
                    <a:pt x="350" y="111"/>
                    <a:pt x="331" y="92"/>
                    <a:pt x="308" y="92"/>
                  </a:cubicBezTo>
                  <a:cubicBezTo>
                    <a:pt x="285" y="92"/>
                    <a:pt x="267" y="111"/>
                    <a:pt x="267" y="134"/>
                  </a:cubicBezTo>
                  <a:cubicBezTo>
                    <a:pt x="267" y="157"/>
                    <a:pt x="285" y="175"/>
                    <a:pt x="308" y="175"/>
                  </a:cubicBezTo>
                  <a:cubicBezTo>
                    <a:pt x="331" y="175"/>
                    <a:pt x="350" y="157"/>
                    <a:pt x="350" y="134"/>
                  </a:cubicBezTo>
                  <a:close/>
                  <a:moveTo>
                    <a:pt x="336" y="134"/>
                  </a:moveTo>
                  <a:cubicBezTo>
                    <a:pt x="336" y="149"/>
                    <a:pt x="324" y="161"/>
                    <a:pt x="308" y="161"/>
                  </a:cubicBezTo>
                  <a:cubicBezTo>
                    <a:pt x="293" y="161"/>
                    <a:pt x="281" y="149"/>
                    <a:pt x="281" y="134"/>
                  </a:cubicBezTo>
                  <a:cubicBezTo>
                    <a:pt x="281" y="118"/>
                    <a:pt x="293" y="106"/>
                    <a:pt x="308" y="106"/>
                  </a:cubicBezTo>
                  <a:cubicBezTo>
                    <a:pt x="324" y="106"/>
                    <a:pt x="336" y="118"/>
                    <a:pt x="336" y="134"/>
                  </a:cubicBezTo>
                  <a:close/>
                  <a:moveTo>
                    <a:pt x="229" y="380"/>
                  </a:moveTo>
                  <a:cubicBezTo>
                    <a:pt x="229" y="357"/>
                    <a:pt x="211" y="338"/>
                    <a:pt x="188" y="338"/>
                  </a:cubicBezTo>
                  <a:cubicBezTo>
                    <a:pt x="165" y="338"/>
                    <a:pt x="146" y="357"/>
                    <a:pt x="146" y="380"/>
                  </a:cubicBezTo>
                  <a:cubicBezTo>
                    <a:pt x="146" y="403"/>
                    <a:pt x="165" y="421"/>
                    <a:pt x="188" y="421"/>
                  </a:cubicBezTo>
                  <a:cubicBezTo>
                    <a:pt x="211" y="421"/>
                    <a:pt x="229" y="403"/>
                    <a:pt x="229" y="380"/>
                  </a:cubicBezTo>
                  <a:close/>
                  <a:moveTo>
                    <a:pt x="215" y="380"/>
                  </a:moveTo>
                  <a:cubicBezTo>
                    <a:pt x="215" y="395"/>
                    <a:pt x="203" y="407"/>
                    <a:pt x="188" y="407"/>
                  </a:cubicBezTo>
                  <a:cubicBezTo>
                    <a:pt x="172" y="407"/>
                    <a:pt x="160" y="395"/>
                    <a:pt x="160" y="380"/>
                  </a:cubicBezTo>
                  <a:cubicBezTo>
                    <a:pt x="160" y="364"/>
                    <a:pt x="172" y="352"/>
                    <a:pt x="188" y="352"/>
                  </a:cubicBezTo>
                  <a:cubicBezTo>
                    <a:pt x="203" y="352"/>
                    <a:pt x="215" y="364"/>
                    <a:pt x="215" y="380"/>
                  </a:cubicBezTo>
                  <a:close/>
                  <a:moveTo>
                    <a:pt x="450" y="80"/>
                  </a:moveTo>
                  <a:cubicBezTo>
                    <a:pt x="450" y="57"/>
                    <a:pt x="431" y="39"/>
                    <a:pt x="408" y="39"/>
                  </a:cubicBezTo>
                  <a:cubicBezTo>
                    <a:pt x="385" y="39"/>
                    <a:pt x="366" y="57"/>
                    <a:pt x="366" y="80"/>
                  </a:cubicBezTo>
                  <a:cubicBezTo>
                    <a:pt x="366" y="103"/>
                    <a:pt x="385" y="122"/>
                    <a:pt x="408" y="122"/>
                  </a:cubicBezTo>
                  <a:cubicBezTo>
                    <a:pt x="431" y="122"/>
                    <a:pt x="450" y="103"/>
                    <a:pt x="450" y="80"/>
                  </a:cubicBezTo>
                  <a:close/>
                  <a:moveTo>
                    <a:pt x="436" y="80"/>
                  </a:moveTo>
                  <a:cubicBezTo>
                    <a:pt x="436" y="96"/>
                    <a:pt x="423" y="108"/>
                    <a:pt x="408" y="108"/>
                  </a:cubicBezTo>
                  <a:cubicBezTo>
                    <a:pt x="393" y="108"/>
                    <a:pt x="380" y="96"/>
                    <a:pt x="380" y="80"/>
                  </a:cubicBezTo>
                  <a:cubicBezTo>
                    <a:pt x="380" y="65"/>
                    <a:pt x="393" y="53"/>
                    <a:pt x="408" y="53"/>
                  </a:cubicBezTo>
                  <a:cubicBezTo>
                    <a:pt x="423" y="53"/>
                    <a:pt x="436" y="65"/>
                    <a:pt x="436" y="80"/>
                  </a:cubicBezTo>
                  <a:close/>
                  <a:moveTo>
                    <a:pt x="409" y="380"/>
                  </a:moveTo>
                  <a:cubicBezTo>
                    <a:pt x="409" y="340"/>
                    <a:pt x="376" y="307"/>
                    <a:pt x="336" y="307"/>
                  </a:cubicBezTo>
                  <a:cubicBezTo>
                    <a:pt x="296" y="307"/>
                    <a:pt x="264" y="340"/>
                    <a:pt x="264" y="380"/>
                  </a:cubicBezTo>
                  <a:cubicBezTo>
                    <a:pt x="264" y="420"/>
                    <a:pt x="296" y="452"/>
                    <a:pt x="336" y="452"/>
                  </a:cubicBezTo>
                  <a:cubicBezTo>
                    <a:pt x="376" y="452"/>
                    <a:pt x="409" y="420"/>
                    <a:pt x="409" y="380"/>
                  </a:cubicBezTo>
                  <a:close/>
                  <a:moveTo>
                    <a:pt x="395" y="380"/>
                  </a:moveTo>
                  <a:cubicBezTo>
                    <a:pt x="395" y="412"/>
                    <a:pt x="369" y="438"/>
                    <a:pt x="336" y="438"/>
                  </a:cubicBezTo>
                  <a:cubicBezTo>
                    <a:pt x="304" y="438"/>
                    <a:pt x="278" y="412"/>
                    <a:pt x="278" y="380"/>
                  </a:cubicBezTo>
                  <a:cubicBezTo>
                    <a:pt x="278" y="347"/>
                    <a:pt x="304" y="321"/>
                    <a:pt x="336" y="321"/>
                  </a:cubicBezTo>
                  <a:cubicBezTo>
                    <a:pt x="369" y="321"/>
                    <a:pt x="395" y="347"/>
                    <a:pt x="395" y="380"/>
                  </a:cubicBezTo>
                  <a:close/>
                  <a:moveTo>
                    <a:pt x="326" y="245"/>
                  </a:moveTo>
                  <a:cubicBezTo>
                    <a:pt x="326" y="205"/>
                    <a:pt x="293" y="172"/>
                    <a:pt x="253" y="172"/>
                  </a:cubicBezTo>
                  <a:cubicBezTo>
                    <a:pt x="213" y="172"/>
                    <a:pt x="181" y="205"/>
                    <a:pt x="181" y="245"/>
                  </a:cubicBezTo>
                  <a:cubicBezTo>
                    <a:pt x="181" y="285"/>
                    <a:pt x="213" y="317"/>
                    <a:pt x="253" y="317"/>
                  </a:cubicBezTo>
                  <a:cubicBezTo>
                    <a:pt x="293" y="317"/>
                    <a:pt x="326" y="285"/>
                    <a:pt x="326" y="245"/>
                  </a:cubicBezTo>
                  <a:close/>
                  <a:moveTo>
                    <a:pt x="312" y="245"/>
                  </a:moveTo>
                  <a:cubicBezTo>
                    <a:pt x="312" y="277"/>
                    <a:pt x="285" y="303"/>
                    <a:pt x="253" y="303"/>
                  </a:cubicBezTo>
                  <a:cubicBezTo>
                    <a:pt x="221" y="303"/>
                    <a:pt x="195" y="277"/>
                    <a:pt x="195" y="245"/>
                  </a:cubicBezTo>
                  <a:cubicBezTo>
                    <a:pt x="195" y="212"/>
                    <a:pt x="221" y="186"/>
                    <a:pt x="253" y="186"/>
                  </a:cubicBezTo>
                  <a:cubicBezTo>
                    <a:pt x="285" y="186"/>
                    <a:pt x="312" y="212"/>
                    <a:pt x="312" y="245"/>
                  </a:cubicBezTo>
                  <a:close/>
                  <a:moveTo>
                    <a:pt x="540" y="199"/>
                  </a:moveTo>
                  <a:cubicBezTo>
                    <a:pt x="540" y="159"/>
                    <a:pt x="507" y="127"/>
                    <a:pt x="467" y="127"/>
                  </a:cubicBezTo>
                  <a:cubicBezTo>
                    <a:pt x="427" y="127"/>
                    <a:pt x="395" y="159"/>
                    <a:pt x="395" y="199"/>
                  </a:cubicBezTo>
                  <a:cubicBezTo>
                    <a:pt x="395" y="239"/>
                    <a:pt x="427" y="272"/>
                    <a:pt x="467" y="272"/>
                  </a:cubicBezTo>
                  <a:cubicBezTo>
                    <a:pt x="507" y="272"/>
                    <a:pt x="540" y="239"/>
                    <a:pt x="540" y="199"/>
                  </a:cubicBezTo>
                  <a:close/>
                  <a:moveTo>
                    <a:pt x="526" y="199"/>
                  </a:moveTo>
                  <a:cubicBezTo>
                    <a:pt x="526" y="231"/>
                    <a:pt x="499" y="258"/>
                    <a:pt x="467" y="258"/>
                  </a:cubicBezTo>
                  <a:cubicBezTo>
                    <a:pt x="435" y="258"/>
                    <a:pt x="409" y="231"/>
                    <a:pt x="409" y="199"/>
                  </a:cubicBezTo>
                  <a:cubicBezTo>
                    <a:pt x="409" y="167"/>
                    <a:pt x="435" y="141"/>
                    <a:pt x="467" y="141"/>
                  </a:cubicBezTo>
                  <a:cubicBezTo>
                    <a:pt x="499" y="141"/>
                    <a:pt x="526" y="167"/>
                    <a:pt x="526" y="19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grpSp>
        <p:nvGrpSpPr>
          <p:cNvPr id="58" name="Gruppieren 57"/>
          <p:cNvGrpSpPr/>
          <p:nvPr/>
        </p:nvGrpSpPr>
        <p:grpSpPr>
          <a:xfrm>
            <a:off x="4295800" y="365076"/>
            <a:ext cx="775266" cy="767590"/>
            <a:chOff x="3552358" y="1981286"/>
            <a:chExt cx="822960" cy="822960"/>
          </a:xfrm>
        </p:grpSpPr>
        <p:sp>
          <p:nvSpPr>
            <p:cNvPr id="32" name="Oval 63"/>
            <p:cNvSpPr>
              <a:spLocks noChangeArrowheads="1"/>
            </p:cNvSpPr>
            <p:nvPr/>
          </p:nvSpPr>
          <p:spPr bwMode="auto">
            <a:xfrm>
              <a:off x="3552358" y="1981286"/>
              <a:ext cx="822960" cy="82296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3" name="Freeform 130"/>
            <p:cNvSpPr>
              <a:spLocks noEditPoints="1"/>
            </p:cNvSpPr>
            <p:nvPr/>
          </p:nvSpPr>
          <p:spPr bwMode="auto">
            <a:xfrm>
              <a:off x="3623648" y="2251775"/>
              <a:ext cx="633695" cy="282876"/>
            </a:xfrm>
            <a:custGeom>
              <a:avLst/>
              <a:gdLst>
                <a:gd name="T0" fmla="*/ 869 w 869"/>
                <a:gd name="T1" fmla="*/ 6 h 384"/>
                <a:gd name="T2" fmla="*/ 868 w 869"/>
                <a:gd name="T3" fmla="*/ 4 h 384"/>
                <a:gd name="T4" fmla="*/ 868 w 869"/>
                <a:gd name="T5" fmla="*/ 3 h 384"/>
                <a:gd name="T6" fmla="*/ 867 w 869"/>
                <a:gd name="T7" fmla="*/ 2 h 384"/>
                <a:gd name="T8" fmla="*/ 866 w 869"/>
                <a:gd name="T9" fmla="*/ 2 h 384"/>
                <a:gd name="T10" fmla="*/ 865 w 869"/>
                <a:gd name="T11" fmla="*/ 1 h 384"/>
                <a:gd name="T12" fmla="*/ 864 w 869"/>
                <a:gd name="T13" fmla="*/ 0 h 384"/>
                <a:gd name="T14" fmla="*/ 863 w 869"/>
                <a:gd name="T15" fmla="*/ 0 h 384"/>
                <a:gd name="T16" fmla="*/ 862 w 869"/>
                <a:gd name="T17" fmla="*/ 0 h 384"/>
                <a:gd name="T18" fmla="*/ 263 w 869"/>
                <a:gd name="T19" fmla="*/ 0 h 384"/>
                <a:gd name="T20" fmla="*/ 261 w 869"/>
                <a:gd name="T21" fmla="*/ 0 h 384"/>
                <a:gd name="T22" fmla="*/ 260 w 869"/>
                <a:gd name="T23" fmla="*/ 0 h 384"/>
                <a:gd name="T24" fmla="*/ 259 w 869"/>
                <a:gd name="T25" fmla="*/ 1 h 384"/>
                <a:gd name="T26" fmla="*/ 258 w 869"/>
                <a:gd name="T27" fmla="*/ 2 h 384"/>
                <a:gd name="T28" fmla="*/ 258 w 869"/>
                <a:gd name="T29" fmla="*/ 2 h 384"/>
                <a:gd name="T30" fmla="*/ 257 w 869"/>
                <a:gd name="T31" fmla="*/ 3 h 384"/>
                <a:gd name="T32" fmla="*/ 256 w 869"/>
                <a:gd name="T33" fmla="*/ 4 h 384"/>
                <a:gd name="T34" fmla="*/ 256 w 869"/>
                <a:gd name="T35" fmla="*/ 6 h 384"/>
                <a:gd name="T36" fmla="*/ 256 w 869"/>
                <a:gd name="T37" fmla="*/ 7 h 384"/>
                <a:gd name="T38" fmla="*/ 263 w 869"/>
                <a:gd name="T39" fmla="*/ 384 h 384"/>
                <a:gd name="T40" fmla="*/ 869 w 869"/>
                <a:gd name="T41" fmla="*/ 377 h 384"/>
                <a:gd name="T42" fmla="*/ 869 w 869"/>
                <a:gd name="T43" fmla="*/ 6 h 384"/>
                <a:gd name="T44" fmla="*/ 442 w 869"/>
                <a:gd name="T45" fmla="*/ 169 h 384"/>
                <a:gd name="T46" fmla="*/ 270 w 869"/>
                <a:gd name="T47" fmla="*/ 22 h 384"/>
                <a:gd name="T48" fmla="*/ 843 w 869"/>
                <a:gd name="T49" fmla="*/ 14 h 384"/>
                <a:gd name="T50" fmla="*/ 515 w 869"/>
                <a:gd name="T51" fmla="*/ 214 h 384"/>
                <a:gd name="T52" fmla="*/ 855 w 869"/>
                <a:gd name="T53" fmla="*/ 22 h 384"/>
                <a:gd name="T54" fmla="*/ 683 w 869"/>
                <a:gd name="T55" fmla="*/ 168 h 384"/>
                <a:gd name="T56" fmla="*/ 270 w 869"/>
                <a:gd name="T57" fmla="*/ 370 h 384"/>
                <a:gd name="T58" fmla="*/ 453 w 869"/>
                <a:gd name="T59" fmla="*/ 178 h 384"/>
                <a:gd name="T60" fmla="*/ 561 w 869"/>
                <a:gd name="T61" fmla="*/ 244 h 384"/>
                <a:gd name="T62" fmla="*/ 672 w 869"/>
                <a:gd name="T63" fmla="*/ 177 h 384"/>
                <a:gd name="T64" fmla="*/ 855 w 869"/>
                <a:gd name="T65" fmla="*/ 370 h 384"/>
                <a:gd name="T66" fmla="*/ 204 w 869"/>
                <a:gd name="T67" fmla="*/ 7 h 384"/>
                <a:gd name="T68" fmla="*/ 7 w 869"/>
                <a:gd name="T69" fmla="*/ 14 h 384"/>
                <a:gd name="T70" fmla="*/ 7 w 869"/>
                <a:gd name="T71" fmla="*/ 0 h 384"/>
                <a:gd name="T72" fmla="*/ 204 w 869"/>
                <a:gd name="T73" fmla="*/ 7 h 384"/>
                <a:gd name="T74" fmla="*/ 197 w 869"/>
                <a:gd name="T75" fmla="*/ 95 h 384"/>
                <a:gd name="T76" fmla="*/ 58 w 869"/>
                <a:gd name="T77" fmla="*/ 88 h 384"/>
                <a:gd name="T78" fmla="*/ 197 w 869"/>
                <a:gd name="T79" fmla="*/ 81 h 384"/>
                <a:gd name="T80" fmla="*/ 204 w 869"/>
                <a:gd name="T81" fmla="*/ 169 h 384"/>
                <a:gd name="T82" fmla="*/ 142 w 869"/>
                <a:gd name="T83" fmla="*/ 176 h 384"/>
                <a:gd name="T84" fmla="*/ 142 w 869"/>
                <a:gd name="T85" fmla="*/ 162 h 384"/>
                <a:gd name="T86" fmla="*/ 204 w 869"/>
                <a:gd name="T87" fmla="*/ 169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69" h="384">
                  <a:moveTo>
                    <a:pt x="869" y="6"/>
                  </a:moveTo>
                  <a:cubicBezTo>
                    <a:pt x="869" y="6"/>
                    <a:pt x="869" y="6"/>
                    <a:pt x="869" y="6"/>
                  </a:cubicBezTo>
                  <a:cubicBezTo>
                    <a:pt x="869" y="6"/>
                    <a:pt x="869" y="5"/>
                    <a:pt x="869" y="5"/>
                  </a:cubicBezTo>
                  <a:cubicBezTo>
                    <a:pt x="868" y="5"/>
                    <a:pt x="868" y="5"/>
                    <a:pt x="868" y="4"/>
                  </a:cubicBezTo>
                  <a:cubicBezTo>
                    <a:pt x="868" y="4"/>
                    <a:pt x="868" y="4"/>
                    <a:pt x="868" y="4"/>
                  </a:cubicBezTo>
                  <a:cubicBezTo>
                    <a:pt x="868" y="4"/>
                    <a:pt x="868" y="3"/>
                    <a:pt x="868" y="3"/>
                  </a:cubicBezTo>
                  <a:cubicBezTo>
                    <a:pt x="868" y="3"/>
                    <a:pt x="867" y="3"/>
                    <a:pt x="867" y="3"/>
                  </a:cubicBezTo>
                  <a:cubicBezTo>
                    <a:pt x="867" y="3"/>
                    <a:pt x="867" y="2"/>
                    <a:pt x="867" y="2"/>
                  </a:cubicBezTo>
                  <a:cubicBezTo>
                    <a:pt x="867" y="2"/>
                    <a:pt x="867" y="2"/>
                    <a:pt x="867" y="2"/>
                  </a:cubicBezTo>
                  <a:cubicBezTo>
                    <a:pt x="867" y="2"/>
                    <a:pt x="867" y="2"/>
                    <a:pt x="866" y="2"/>
                  </a:cubicBezTo>
                  <a:cubicBezTo>
                    <a:pt x="866" y="1"/>
                    <a:pt x="866" y="1"/>
                    <a:pt x="866" y="1"/>
                  </a:cubicBezTo>
                  <a:cubicBezTo>
                    <a:pt x="866" y="1"/>
                    <a:pt x="865" y="1"/>
                    <a:pt x="865" y="1"/>
                  </a:cubicBezTo>
                  <a:cubicBezTo>
                    <a:pt x="865" y="1"/>
                    <a:pt x="865" y="1"/>
                    <a:pt x="865" y="1"/>
                  </a:cubicBezTo>
                  <a:cubicBezTo>
                    <a:pt x="864" y="0"/>
                    <a:pt x="864" y="0"/>
                    <a:pt x="864" y="0"/>
                  </a:cubicBezTo>
                  <a:cubicBezTo>
                    <a:pt x="864" y="0"/>
                    <a:pt x="864" y="0"/>
                    <a:pt x="863" y="0"/>
                  </a:cubicBezTo>
                  <a:cubicBezTo>
                    <a:pt x="863" y="0"/>
                    <a:pt x="863" y="0"/>
                    <a:pt x="863" y="0"/>
                  </a:cubicBezTo>
                  <a:cubicBezTo>
                    <a:pt x="863" y="0"/>
                    <a:pt x="862" y="0"/>
                    <a:pt x="862" y="0"/>
                  </a:cubicBezTo>
                  <a:cubicBezTo>
                    <a:pt x="862" y="0"/>
                    <a:pt x="862" y="0"/>
                    <a:pt x="862" y="0"/>
                  </a:cubicBezTo>
                  <a:cubicBezTo>
                    <a:pt x="263" y="0"/>
                    <a:pt x="263" y="0"/>
                    <a:pt x="263" y="0"/>
                  </a:cubicBezTo>
                  <a:cubicBezTo>
                    <a:pt x="263" y="0"/>
                    <a:pt x="263" y="0"/>
                    <a:pt x="263" y="0"/>
                  </a:cubicBezTo>
                  <a:cubicBezTo>
                    <a:pt x="262" y="0"/>
                    <a:pt x="262" y="0"/>
                    <a:pt x="262" y="0"/>
                  </a:cubicBezTo>
                  <a:cubicBezTo>
                    <a:pt x="262" y="0"/>
                    <a:pt x="261" y="0"/>
                    <a:pt x="261" y="0"/>
                  </a:cubicBezTo>
                  <a:cubicBezTo>
                    <a:pt x="261" y="0"/>
                    <a:pt x="261" y="0"/>
                    <a:pt x="261" y="0"/>
                  </a:cubicBezTo>
                  <a:cubicBezTo>
                    <a:pt x="260" y="0"/>
                    <a:pt x="260" y="0"/>
                    <a:pt x="260" y="0"/>
                  </a:cubicBezTo>
                  <a:cubicBezTo>
                    <a:pt x="260" y="1"/>
                    <a:pt x="260" y="1"/>
                    <a:pt x="259" y="1"/>
                  </a:cubicBezTo>
                  <a:cubicBezTo>
                    <a:pt x="259" y="1"/>
                    <a:pt x="259" y="1"/>
                    <a:pt x="259" y="1"/>
                  </a:cubicBezTo>
                  <a:cubicBezTo>
                    <a:pt x="259" y="1"/>
                    <a:pt x="258" y="1"/>
                    <a:pt x="258" y="2"/>
                  </a:cubicBezTo>
                  <a:cubicBezTo>
                    <a:pt x="258" y="2"/>
                    <a:pt x="258" y="2"/>
                    <a:pt x="258" y="2"/>
                  </a:cubicBezTo>
                  <a:cubicBezTo>
                    <a:pt x="258" y="2"/>
                    <a:pt x="258" y="2"/>
                    <a:pt x="258" y="2"/>
                  </a:cubicBezTo>
                  <a:cubicBezTo>
                    <a:pt x="258" y="2"/>
                    <a:pt x="258" y="2"/>
                    <a:pt x="258" y="2"/>
                  </a:cubicBezTo>
                  <a:cubicBezTo>
                    <a:pt x="257" y="2"/>
                    <a:pt x="257" y="3"/>
                    <a:pt x="257" y="3"/>
                  </a:cubicBezTo>
                  <a:cubicBezTo>
                    <a:pt x="257" y="3"/>
                    <a:pt x="257" y="3"/>
                    <a:pt x="257" y="3"/>
                  </a:cubicBezTo>
                  <a:cubicBezTo>
                    <a:pt x="257" y="3"/>
                    <a:pt x="257" y="4"/>
                    <a:pt x="257" y="4"/>
                  </a:cubicBezTo>
                  <a:cubicBezTo>
                    <a:pt x="257" y="4"/>
                    <a:pt x="256" y="4"/>
                    <a:pt x="256" y="4"/>
                  </a:cubicBezTo>
                  <a:cubicBezTo>
                    <a:pt x="256" y="5"/>
                    <a:pt x="256" y="5"/>
                    <a:pt x="256" y="5"/>
                  </a:cubicBezTo>
                  <a:cubicBezTo>
                    <a:pt x="256" y="5"/>
                    <a:pt x="256" y="6"/>
                    <a:pt x="256" y="6"/>
                  </a:cubicBezTo>
                  <a:cubicBezTo>
                    <a:pt x="256" y="6"/>
                    <a:pt x="256" y="6"/>
                    <a:pt x="256" y="6"/>
                  </a:cubicBezTo>
                  <a:cubicBezTo>
                    <a:pt x="256" y="7"/>
                    <a:pt x="256" y="7"/>
                    <a:pt x="256" y="7"/>
                  </a:cubicBezTo>
                  <a:cubicBezTo>
                    <a:pt x="256" y="377"/>
                    <a:pt x="256" y="377"/>
                    <a:pt x="256" y="377"/>
                  </a:cubicBezTo>
                  <a:cubicBezTo>
                    <a:pt x="256" y="380"/>
                    <a:pt x="259" y="384"/>
                    <a:pt x="263" y="384"/>
                  </a:cubicBezTo>
                  <a:cubicBezTo>
                    <a:pt x="862" y="384"/>
                    <a:pt x="862" y="384"/>
                    <a:pt x="862" y="384"/>
                  </a:cubicBezTo>
                  <a:cubicBezTo>
                    <a:pt x="866" y="384"/>
                    <a:pt x="869" y="380"/>
                    <a:pt x="869" y="377"/>
                  </a:cubicBezTo>
                  <a:cubicBezTo>
                    <a:pt x="869" y="7"/>
                    <a:pt x="869" y="7"/>
                    <a:pt x="869" y="7"/>
                  </a:cubicBezTo>
                  <a:cubicBezTo>
                    <a:pt x="869" y="7"/>
                    <a:pt x="869" y="7"/>
                    <a:pt x="869" y="6"/>
                  </a:cubicBezTo>
                  <a:close/>
                  <a:moveTo>
                    <a:pt x="270" y="22"/>
                  </a:moveTo>
                  <a:cubicBezTo>
                    <a:pt x="442" y="169"/>
                    <a:pt x="442" y="169"/>
                    <a:pt x="442" y="169"/>
                  </a:cubicBezTo>
                  <a:cubicBezTo>
                    <a:pt x="270" y="315"/>
                    <a:pt x="270" y="315"/>
                    <a:pt x="270" y="315"/>
                  </a:cubicBezTo>
                  <a:lnTo>
                    <a:pt x="270" y="22"/>
                  </a:lnTo>
                  <a:close/>
                  <a:moveTo>
                    <a:pt x="282" y="14"/>
                  </a:moveTo>
                  <a:cubicBezTo>
                    <a:pt x="843" y="14"/>
                    <a:pt x="843" y="14"/>
                    <a:pt x="843" y="14"/>
                  </a:cubicBezTo>
                  <a:cubicBezTo>
                    <a:pt x="607" y="214"/>
                    <a:pt x="607" y="214"/>
                    <a:pt x="607" y="214"/>
                  </a:cubicBezTo>
                  <a:cubicBezTo>
                    <a:pt x="582" y="235"/>
                    <a:pt x="541" y="235"/>
                    <a:pt x="515" y="214"/>
                  </a:cubicBezTo>
                  <a:lnTo>
                    <a:pt x="282" y="14"/>
                  </a:lnTo>
                  <a:close/>
                  <a:moveTo>
                    <a:pt x="855" y="22"/>
                  </a:moveTo>
                  <a:cubicBezTo>
                    <a:pt x="855" y="315"/>
                    <a:pt x="855" y="315"/>
                    <a:pt x="855" y="315"/>
                  </a:cubicBezTo>
                  <a:cubicBezTo>
                    <a:pt x="683" y="168"/>
                    <a:pt x="683" y="168"/>
                    <a:pt x="683" y="168"/>
                  </a:cubicBezTo>
                  <a:lnTo>
                    <a:pt x="855" y="22"/>
                  </a:lnTo>
                  <a:close/>
                  <a:moveTo>
                    <a:pt x="270" y="370"/>
                  </a:moveTo>
                  <a:cubicBezTo>
                    <a:pt x="270" y="333"/>
                    <a:pt x="270" y="333"/>
                    <a:pt x="270" y="333"/>
                  </a:cubicBezTo>
                  <a:cubicBezTo>
                    <a:pt x="453" y="178"/>
                    <a:pt x="453" y="178"/>
                    <a:pt x="453" y="178"/>
                  </a:cubicBezTo>
                  <a:cubicBezTo>
                    <a:pt x="506" y="224"/>
                    <a:pt x="506" y="224"/>
                    <a:pt x="506" y="224"/>
                  </a:cubicBezTo>
                  <a:cubicBezTo>
                    <a:pt x="521" y="237"/>
                    <a:pt x="541" y="244"/>
                    <a:pt x="561" y="244"/>
                  </a:cubicBezTo>
                  <a:cubicBezTo>
                    <a:pt x="581" y="244"/>
                    <a:pt x="601" y="237"/>
                    <a:pt x="616" y="224"/>
                  </a:cubicBezTo>
                  <a:cubicBezTo>
                    <a:pt x="672" y="177"/>
                    <a:pt x="672" y="177"/>
                    <a:pt x="672" y="177"/>
                  </a:cubicBezTo>
                  <a:cubicBezTo>
                    <a:pt x="855" y="333"/>
                    <a:pt x="855" y="333"/>
                    <a:pt x="855" y="333"/>
                  </a:cubicBezTo>
                  <a:cubicBezTo>
                    <a:pt x="855" y="370"/>
                    <a:pt x="855" y="370"/>
                    <a:pt x="855" y="370"/>
                  </a:cubicBezTo>
                  <a:lnTo>
                    <a:pt x="270" y="370"/>
                  </a:lnTo>
                  <a:close/>
                  <a:moveTo>
                    <a:pt x="204" y="7"/>
                  </a:moveTo>
                  <a:cubicBezTo>
                    <a:pt x="204" y="11"/>
                    <a:pt x="201" y="14"/>
                    <a:pt x="197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3" y="14"/>
                    <a:pt x="0" y="11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97" y="0"/>
                    <a:pt x="197" y="0"/>
                    <a:pt x="197" y="0"/>
                  </a:cubicBezTo>
                  <a:cubicBezTo>
                    <a:pt x="201" y="0"/>
                    <a:pt x="204" y="3"/>
                    <a:pt x="204" y="7"/>
                  </a:cubicBezTo>
                  <a:close/>
                  <a:moveTo>
                    <a:pt x="204" y="88"/>
                  </a:moveTo>
                  <a:cubicBezTo>
                    <a:pt x="204" y="92"/>
                    <a:pt x="201" y="95"/>
                    <a:pt x="197" y="95"/>
                  </a:cubicBezTo>
                  <a:cubicBezTo>
                    <a:pt x="65" y="95"/>
                    <a:pt x="65" y="95"/>
                    <a:pt x="65" y="95"/>
                  </a:cubicBezTo>
                  <a:cubicBezTo>
                    <a:pt x="61" y="95"/>
                    <a:pt x="58" y="92"/>
                    <a:pt x="58" y="88"/>
                  </a:cubicBezTo>
                  <a:cubicBezTo>
                    <a:pt x="58" y="84"/>
                    <a:pt x="61" y="81"/>
                    <a:pt x="65" y="81"/>
                  </a:cubicBezTo>
                  <a:cubicBezTo>
                    <a:pt x="197" y="81"/>
                    <a:pt x="197" y="81"/>
                    <a:pt x="197" y="81"/>
                  </a:cubicBezTo>
                  <a:cubicBezTo>
                    <a:pt x="201" y="81"/>
                    <a:pt x="204" y="84"/>
                    <a:pt x="204" y="88"/>
                  </a:cubicBezTo>
                  <a:close/>
                  <a:moveTo>
                    <a:pt x="204" y="169"/>
                  </a:moveTo>
                  <a:cubicBezTo>
                    <a:pt x="204" y="173"/>
                    <a:pt x="201" y="176"/>
                    <a:pt x="197" y="176"/>
                  </a:cubicBezTo>
                  <a:cubicBezTo>
                    <a:pt x="142" y="176"/>
                    <a:pt x="142" y="176"/>
                    <a:pt x="142" y="176"/>
                  </a:cubicBezTo>
                  <a:cubicBezTo>
                    <a:pt x="139" y="176"/>
                    <a:pt x="135" y="173"/>
                    <a:pt x="135" y="169"/>
                  </a:cubicBezTo>
                  <a:cubicBezTo>
                    <a:pt x="135" y="165"/>
                    <a:pt x="139" y="162"/>
                    <a:pt x="142" y="162"/>
                  </a:cubicBezTo>
                  <a:cubicBezTo>
                    <a:pt x="197" y="162"/>
                    <a:pt x="197" y="162"/>
                    <a:pt x="197" y="162"/>
                  </a:cubicBezTo>
                  <a:cubicBezTo>
                    <a:pt x="201" y="162"/>
                    <a:pt x="204" y="165"/>
                    <a:pt x="204" y="169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grpSp>
        <p:nvGrpSpPr>
          <p:cNvPr id="46" name="Gruppieren 45"/>
          <p:cNvGrpSpPr/>
          <p:nvPr/>
        </p:nvGrpSpPr>
        <p:grpSpPr>
          <a:xfrm>
            <a:off x="1966533" y="358526"/>
            <a:ext cx="775266" cy="767590"/>
            <a:chOff x="6137845" y="1981286"/>
            <a:chExt cx="822960" cy="822960"/>
          </a:xfrm>
        </p:grpSpPr>
        <p:sp>
          <p:nvSpPr>
            <p:cNvPr id="34" name="Oval 80"/>
            <p:cNvSpPr>
              <a:spLocks noChangeArrowheads="1"/>
            </p:cNvSpPr>
            <p:nvPr/>
          </p:nvSpPr>
          <p:spPr bwMode="auto">
            <a:xfrm>
              <a:off x="6137845" y="1981286"/>
              <a:ext cx="822960" cy="82296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5" name="Freeform 134"/>
            <p:cNvSpPr>
              <a:spLocks noEditPoints="1"/>
            </p:cNvSpPr>
            <p:nvPr/>
          </p:nvSpPr>
          <p:spPr bwMode="auto">
            <a:xfrm>
              <a:off x="6326795" y="2159296"/>
              <a:ext cx="445061" cy="467835"/>
            </a:xfrm>
            <a:custGeom>
              <a:avLst/>
              <a:gdLst>
                <a:gd name="T0" fmla="*/ 63 w 574"/>
                <a:gd name="T1" fmla="*/ 361 h 605"/>
                <a:gd name="T2" fmla="*/ 56 w 574"/>
                <a:gd name="T3" fmla="*/ 239 h 605"/>
                <a:gd name="T4" fmla="*/ 49 w 574"/>
                <a:gd name="T5" fmla="*/ 361 h 605"/>
                <a:gd name="T6" fmla="*/ 0 w 574"/>
                <a:gd name="T7" fmla="*/ 368 h 605"/>
                <a:gd name="T8" fmla="*/ 7 w 574"/>
                <a:gd name="T9" fmla="*/ 484 h 605"/>
                <a:gd name="T10" fmla="*/ 49 w 574"/>
                <a:gd name="T11" fmla="*/ 598 h 605"/>
                <a:gd name="T12" fmla="*/ 63 w 574"/>
                <a:gd name="T13" fmla="*/ 598 h 605"/>
                <a:gd name="T14" fmla="*/ 105 w 574"/>
                <a:gd name="T15" fmla="*/ 484 h 605"/>
                <a:gd name="T16" fmla="*/ 112 w 574"/>
                <a:gd name="T17" fmla="*/ 368 h 605"/>
                <a:gd name="T18" fmla="*/ 98 w 574"/>
                <a:gd name="T19" fmla="*/ 470 h 605"/>
                <a:gd name="T20" fmla="*/ 14 w 574"/>
                <a:gd name="T21" fmla="*/ 375 h 605"/>
                <a:gd name="T22" fmla="*/ 98 w 574"/>
                <a:gd name="T23" fmla="*/ 470 h 605"/>
                <a:gd name="T24" fmla="*/ 217 w 574"/>
                <a:gd name="T25" fmla="*/ 224 h 605"/>
                <a:gd name="T26" fmla="*/ 210 w 574"/>
                <a:gd name="T27" fmla="*/ 103 h 605"/>
                <a:gd name="T28" fmla="*/ 203 w 574"/>
                <a:gd name="T29" fmla="*/ 224 h 605"/>
                <a:gd name="T30" fmla="*/ 154 w 574"/>
                <a:gd name="T31" fmla="*/ 231 h 605"/>
                <a:gd name="T32" fmla="*/ 161 w 574"/>
                <a:gd name="T33" fmla="*/ 348 h 605"/>
                <a:gd name="T34" fmla="*/ 203 w 574"/>
                <a:gd name="T35" fmla="*/ 462 h 605"/>
                <a:gd name="T36" fmla="*/ 217 w 574"/>
                <a:gd name="T37" fmla="*/ 462 h 605"/>
                <a:gd name="T38" fmla="*/ 259 w 574"/>
                <a:gd name="T39" fmla="*/ 348 h 605"/>
                <a:gd name="T40" fmla="*/ 266 w 574"/>
                <a:gd name="T41" fmla="*/ 231 h 605"/>
                <a:gd name="T42" fmla="*/ 252 w 574"/>
                <a:gd name="T43" fmla="*/ 334 h 605"/>
                <a:gd name="T44" fmla="*/ 168 w 574"/>
                <a:gd name="T45" fmla="*/ 238 h 605"/>
                <a:gd name="T46" fmla="*/ 252 w 574"/>
                <a:gd name="T47" fmla="*/ 334 h 605"/>
                <a:gd name="T48" fmla="*/ 371 w 574"/>
                <a:gd name="T49" fmla="*/ 279 h 605"/>
                <a:gd name="T50" fmla="*/ 364 w 574"/>
                <a:gd name="T51" fmla="*/ 158 h 605"/>
                <a:gd name="T52" fmla="*/ 357 w 574"/>
                <a:gd name="T53" fmla="*/ 279 h 605"/>
                <a:gd name="T54" fmla="*/ 308 w 574"/>
                <a:gd name="T55" fmla="*/ 286 h 605"/>
                <a:gd name="T56" fmla="*/ 315 w 574"/>
                <a:gd name="T57" fmla="*/ 402 h 605"/>
                <a:gd name="T58" fmla="*/ 357 w 574"/>
                <a:gd name="T59" fmla="*/ 516 h 605"/>
                <a:gd name="T60" fmla="*/ 371 w 574"/>
                <a:gd name="T61" fmla="*/ 516 h 605"/>
                <a:gd name="T62" fmla="*/ 413 w 574"/>
                <a:gd name="T63" fmla="*/ 402 h 605"/>
                <a:gd name="T64" fmla="*/ 420 w 574"/>
                <a:gd name="T65" fmla="*/ 286 h 605"/>
                <a:gd name="T66" fmla="*/ 406 w 574"/>
                <a:gd name="T67" fmla="*/ 388 h 605"/>
                <a:gd name="T68" fmla="*/ 322 w 574"/>
                <a:gd name="T69" fmla="*/ 293 h 605"/>
                <a:gd name="T70" fmla="*/ 406 w 574"/>
                <a:gd name="T71" fmla="*/ 388 h 605"/>
                <a:gd name="T72" fmla="*/ 525 w 574"/>
                <a:gd name="T73" fmla="*/ 121 h 605"/>
                <a:gd name="T74" fmla="*/ 518 w 574"/>
                <a:gd name="T75" fmla="*/ 0 h 605"/>
                <a:gd name="T76" fmla="*/ 511 w 574"/>
                <a:gd name="T77" fmla="*/ 121 h 605"/>
                <a:gd name="T78" fmla="*/ 462 w 574"/>
                <a:gd name="T79" fmla="*/ 128 h 605"/>
                <a:gd name="T80" fmla="*/ 469 w 574"/>
                <a:gd name="T81" fmla="*/ 245 h 605"/>
                <a:gd name="T82" fmla="*/ 511 w 574"/>
                <a:gd name="T83" fmla="*/ 359 h 605"/>
                <a:gd name="T84" fmla="*/ 525 w 574"/>
                <a:gd name="T85" fmla="*/ 359 h 605"/>
                <a:gd name="T86" fmla="*/ 567 w 574"/>
                <a:gd name="T87" fmla="*/ 245 h 605"/>
                <a:gd name="T88" fmla="*/ 574 w 574"/>
                <a:gd name="T89" fmla="*/ 128 h 605"/>
                <a:gd name="T90" fmla="*/ 560 w 574"/>
                <a:gd name="T91" fmla="*/ 231 h 605"/>
                <a:gd name="T92" fmla="*/ 476 w 574"/>
                <a:gd name="T93" fmla="*/ 135 h 605"/>
                <a:gd name="T94" fmla="*/ 560 w 574"/>
                <a:gd name="T95" fmla="*/ 231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574" h="605">
                  <a:moveTo>
                    <a:pt x="105" y="361"/>
                  </a:moveTo>
                  <a:cubicBezTo>
                    <a:pt x="63" y="361"/>
                    <a:pt x="63" y="361"/>
                    <a:pt x="63" y="361"/>
                  </a:cubicBezTo>
                  <a:cubicBezTo>
                    <a:pt x="63" y="246"/>
                    <a:pt x="63" y="246"/>
                    <a:pt x="63" y="246"/>
                  </a:cubicBezTo>
                  <a:cubicBezTo>
                    <a:pt x="63" y="243"/>
                    <a:pt x="60" y="239"/>
                    <a:pt x="56" y="239"/>
                  </a:cubicBezTo>
                  <a:cubicBezTo>
                    <a:pt x="52" y="239"/>
                    <a:pt x="49" y="243"/>
                    <a:pt x="49" y="246"/>
                  </a:cubicBezTo>
                  <a:cubicBezTo>
                    <a:pt x="49" y="361"/>
                    <a:pt x="49" y="361"/>
                    <a:pt x="49" y="361"/>
                  </a:cubicBezTo>
                  <a:cubicBezTo>
                    <a:pt x="7" y="361"/>
                    <a:pt x="7" y="361"/>
                    <a:pt x="7" y="361"/>
                  </a:cubicBezTo>
                  <a:cubicBezTo>
                    <a:pt x="3" y="361"/>
                    <a:pt x="0" y="364"/>
                    <a:pt x="0" y="368"/>
                  </a:cubicBezTo>
                  <a:cubicBezTo>
                    <a:pt x="0" y="477"/>
                    <a:pt x="0" y="477"/>
                    <a:pt x="0" y="477"/>
                  </a:cubicBezTo>
                  <a:cubicBezTo>
                    <a:pt x="0" y="481"/>
                    <a:pt x="3" y="484"/>
                    <a:pt x="7" y="484"/>
                  </a:cubicBezTo>
                  <a:cubicBezTo>
                    <a:pt x="49" y="484"/>
                    <a:pt x="49" y="484"/>
                    <a:pt x="49" y="484"/>
                  </a:cubicBezTo>
                  <a:cubicBezTo>
                    <a:pt x="49" y="598"/>
                    <a:pt x="49" y="598"/>
                    <a:pt x="49" y="598"/>
                  </a:cubicBezTo>
                  <a:cubicBezTo>
                    <a:pt x="49" y="602"/>
                    <a:pt x="52" y="605"/>
                    <a:pt x="56" y="605"/>
                  </a:cubicBezTo>
                  <a:cubicBezTo>
                    <a:pt x="60" y="605"/>
                    <a:pt x="63" y="602"/>
                    <a:pt x="63" y="598"/>
                  </a:cubicBezTo>
                  <a:cubicBezTo>
                    <a:pt x="63" y="484"/>
                    <a:pt x="63" y="484"/>
                    <a:pt x="63" y="484"/>
                  </a:cubicBezTo>
                  <a:cubicBezTo>
                    <a:pt x="105" y="484"/>
                    <a:pt x="105" y="484"/>
                    <a:pt x="105" y="484"/>
                  </a:cubicBezTo>
                  <a:cubicBezTo>
                    <a:pt x="109" y="484"/>
                    <a:pt x="112" y="481"/>
                    <a:pt x="112" y="477"/>
                  </a:cubicBezTo>
                  <a:cubicBezTo>
                    <a:pt x="112" y="368"/>
                    <a:pt x="112" y="368"/>
                    <a:pt x="112" y="368"/>
                  </a:cubicBezTo>
                  <a:cubicBezTo>
                    <a:pt x="112" y="364"/>
                    <a:pt x="109" y="361"/>
                    <a:pt x="105" y="361"/>
                  </a:cubicBezTo>
                  <a:close/>
                  <a:moveTo>
                    <a:pt x="98" y="470"/>
                  </a:moveTo>
                  <a:cubicBezTo>
                    <a:pt x="14" y="470"/>
                    <a:pt x="14" y="470"/>
                    <a:pt x="14" y="470"/>
                  </a:cubicBezTo>
                  <a:cubicBezTo>
                    <a:pt x="14" y="375"/>
                    <a:pt x="14" y="375"/>
                    <a:pt x="14" y="375"/>
                  </a:cubicBezTo>
                  <a:cubicBezTo>
                    <a:pt x="98" y="375"/>
                    <a:pt x="98" y="375"/>
                    <a:pt x="98" y="375"/>
                  </a:cubicBezTo>
                  <a:lnTo>
                    <a:pt x="98" y="470"/>
                  </a:lnTo>
                  <a:close/>
                  <a:moveTo>
                    <a:pt x="259" y="224"/>
                  </a:moveTo>
                  <a:cubicBezTo>
                    <a:pt x="217" y="224"/>
                    <a:pt x="217" y="224"/>
                    <a:pt x="217" y="224"/>
                  </a:cubicBezTo>
                  <a:cubicBezTo>
                    <a:pt x="217" y="110"/>
                    <a:pt x="217" y="110"/>
                    <a:pt x="217" y="110"/>
                  </a:cubicBezTo>
                  <a:cubicBezTo>
                    <a:pt x="217" y="106"/>
                    <a:pt x="214" y="103"/>
                    <a:pt x="210" y="103"/>
                  </a:cubicBezTo>
                  <a:cubicBezTo>
                    <a:pt x="206" y="103"/>
                    <a:pt x="203" y="106"/>
                    <a:pt x="203" y="110"/>
                  </a:cubicBezTo>
                  <a:cubicBezTo>
                    <a:pt x="203" y="224"/>
                    <a:pt x="203" y="224"/>
                    <a:pt x="203" y="224"/>
                  </a:cubicBezTo>
                  <a:cubicBezTo>
                    <a:pt x="161" y="224"/>
                    <a:pt x="161" y="224"/>
                    <a:pt x="161" y="224"/>
                  </a:cubicBezTo>
                  <a:cubicBezTo>
                    <a:pt x="157" y="224"/>
                    <a:pt x="154" y="227"/>
                    <a:pt x="154" y="231"/>
                  </a:cubicBezTo>
                  <a:cubicBezTo>
                    <a:pt x="154" y="341"/>
                    <a:pt x="154" y="341"/>
                    <a:pt x="154" y="341"/>
                  </a:cubicBezTo>
                  <a:cubicBezTo>
                    <a:pt x="154" y="344"/>
                    <a:pt x="157" y="348"/>
                    <a:pt x="161" y="348"/>
                  </a:cubicBezTo>
                  <a:cubicBezTo>
                    <a:pt x="203" y="348"/>
                    <a:pt x="203" y="348"/>
                    <a:pt x="203" y="348"/>
                  </a:cubicBezTo>
                  <a:cubicBezTo>
                    <a:pt x="203" y="462"/>
                    <a:pt x="203" y="462"/>
                    <a:pt x="203" y="462"/>
                  </a:cubicBezTo>
                  <a:cubicBezTo>
                    <a:pt x="203" y="466"/>
                    <a:pt x="206" y="469"/>
                    <a:pt x="210" y="469"/>
                  </a:cubicBezTo>
                  <a:cubicBezTo>
                    <a:pt x="214" y="469"/>
                    <a:pt x="217" y="466"/>
                    <a:pt x="217" y="462"/>
                  </a:cubicBezTo>
                  <a:cubicBezTo>
                    <a:pt x="217" y="348"/>
                    <a:pt x="217" y="348"/>
                    <a:pt x="217" y="348"/>
                  </a:cubicBezTo>
                  <a:cubicBezTo>
                    <a:pt x="259" y="348"/>
                    <a:pt x="259" y="348"/>
                    <a:pt x="259" y="348"/>
                  </a:cubicBezTo>
                  <a:cubicBezTo>
                    <a:pt x="263" y="348"/>
                    <a:pt x="266" y="344"/>
                    <a:pt x="266" y="341"/>
                  </a:cubicBezTo>
                  <a:cubicBezTo>
                    <a:pt x="266" y="231"/>
                    <a:pt x="266" y="231"/>
                    <a:pt x="266" y="231"/>
                  </a:cubicBezTo>
                  <a:cubicBezTo>
                    <a:pt x="266" y="227"/>
                    <a:pt x="263" y="224"/>
                    <a:pt x="259" y="224"/>
                  </a:cubicBezTo>
                  <a:close/>
                  <a:moveTo>
                    <a:pt x="252" y="334"/>
                  </a:moveTo>
                  <a:cubicBezTo>
                    <a:pt x="168" y="334"/>
                    <a:pt x="168" y="334"/>
                    <a:pt x="168" y="334"/>
                  </a:cubicBezTo>
                  <a:cubicBezTo>
                    <a:pt x="168" y="238"/>
                    <a:pt x="168" y="238"/>
                    <a:pt x="168" y="238"/>
                  </a:cubicBezTo>
                  <a:cubicBezTo>
                    <a:pt x="252" y="238"/>
                    <a:pt x="252" y="238"/>
                    <a:pt x="252" y="238"/>
                  </a:cubicBezTo>
                  <a:lnTo>
                    <a:pt x="252" y="334"/>
                  </a:lnTo>
                  <a:close/>
                  <a:moveTo>
                    <a:pt x="413" y="279"/>
                  </a:moveTo>
                  <a:cubicBezTo>
                    <a:pt x="371" y="279"/>
                    <a:pt x="371" y="279"/>
                    <a:pt x="371" y="279"/>
                  </a:cubicBezTo>
                  <a:cubicBezTo>
                    <a:pt x="371" y="165"/>
                    <a:pt x="371" y="165"/>
                    <a:pt x="371" y="165"/>
                  </a:cubicBezTo>
                  <a:cubicBezTo>
                    <a:pt x="371" y="161"/>
                    <a:pt x="368" y="158"/>
                    <a:pt x="364" y="158"/>
                  </a:cubicBezTo>
                  <a:cubicBezTo>
                    <a:pt x="360" y="158"/>
                    <a:pt x="357" y="161"/>
                    <a:pt x="357" y="165"/>
                  </a:cubicBezTo>
                  <a:cubicBezTo>
                    <a:pt x="357" y="279"/>
                    <a:pt x="357" y="279"/>
                    <a:pt x="357" y="279"/>
                  </a:cubicBezTo>
                  <a:cubicBezTo>
                    <a:pt x="315" y="279"/>
                    <a:pt x="315" y="279"/>
                    <a:pt x="315" y="279"/>
                  </a:cubicBezTo>
                  <a:cubicBezTo>
                    <a:pt x="311" y="279"/>
                    <a:pt x="308" y="282"/>
                    <a:pt x="308" y="286"/>
                  </a:cubicBezTo>
                  <a:cubicBezTo>
                    <a:pt x="308" y="395"/>
                    <a:pt x="308" y="395"/>
                    <a:pt x="308" y="395"/>
                  </a:cubicBezTo>
                  <a:cubicBezTo>
                    <a:pt x="308" y="399"/>
                    <a:pt x="311" y="402"/>
                    <a:pt x="315" y="402"/>
                  </a:cubicBezTo>
                  <a:cubicBezTo>
                    <a:pt x="357" y="402"/>
                    <a:pt x="357" y="402"/>
                    <a:pt x="357" y="402"/>
                  </a:cubicBezTo>
                  <a:cubicBezTo>
                    <a:pt x="357" y="516"/>
                    <a:pt x="357" y="516"/>
                    <a:pt x="357" y="516"/>
                  </a:cubicBezTo>
                  <a:cubicBezTo>
                    <a:pt x="357" y="520"/>
                    <a:pt x="360" y="523"/>
                    <a:pt x="364" y="523"/>
                  </a:cubicBezTo>
                  <a:cubicBezTo>
                    <a:pt x="368" y="523"/>
                    <a:pt x="371" y="520"/>
                    <a:pt x="371" y="516"/>
                  </a:cubicBezTo>
                  <a:cubicBezTo>
                    <a:pt x="371" y="402"/>
                    <a:pt x="371" y="402"/>
                    <a:pt x="371" y="402"/>
                  </a:cubicBezTo>
                  <a:cubicBezTo>
                    <a:pt x="413" y="402"/>
                    <a:pt x="413" y="402"/>
                    <a:pt x="413" y="402"/>
                  </a:cubicBezTo>
                  <a:cubicBezTo>
                    <a:pt x="417" y="402"/>
                    <a:pt x="420" y="399"/>
                    <a:pt x="420" y="395"/>
                  </a:cubicBezTo>
                  <a:cubicBezTo>
                    <a:pt x="420" y="286"/>
                    <a:pt x="420" y="286"/>
                    <a:pt x="420" y="286"/>
                  </a:cubicBezTo>
                  <a:cubicBezTo>
                    <a:pt x="420" y="282"/>
                    <a:pt x="417" y="279"/>
                    <a:pt x="413" y="279"/>
                  </a:cubicBezTo>
                  <a:close/>
                  <a:moveTo>
                    <a:pt x="406" y="388"/>
                  </a:moveTo>
                  <a:cubicBezTo>
                    <a:pt x="322" y="388"/>
                    <a:pt x="322" y="388"/>
                    <a:pt x="322" y="388"/>
                  </a:cubicBezTo>
                  <a:cubicBezTo>
                    <a:pt x="322" y="293"/>
                    <a:pt x="322" y="293"/>
                    <a:pt x="322" y="293"/>
                  </a:cubicBezTo>
                  <a:cubicBezTo>
                    <a:pt x="406" y="293"/>
                    <a:pt x="406" y="293"/>
                    <a:pt x="406" y="293"/>
                  </a:cubicBezTo>
                  <a:lnTo>
                    <a:pt x="406" y="388"/>
                  </a:lnTo>
                  <a:close/>
                  <a:moveTo>
                    <a:pt x="567" y="121"/>
                  </a:moveTo>
                  <a:cubicBezTo>
                    <a:pt x="525" y="121"/>
                    <a:pt x="525" y="121"/>
                    <a:pt x="525" y="121"/>
                  </a:cubicBezTo>
                  <a:cubicBezTo>
                    <a:pt x="525" y="7"/>
                    <a:pt x="525" y="7"/>
                    <a:pt x="525" y="7"/>
                  </a:cubicBezTo>
                  <a:cubicBezTo>
                    <a:pt x="525" y="3"/>
                    <a:pt x="522" y="0"/>
                    <a:pt x="518" y="0"/>
                  </a:cubicBezTo>
                  <a:cubicBezTo>
                    <a:pt x="514" y="0"/>
                    <a:pt x="511" y="3"/>
                    <a:pt x="511" y="7"/>
                  </a:cubicBezTo>
                  <a:cubicBezTo>
                    <a:pt x="511" y="121"/>
                    <a:pt x="511" y="121"/>
                    <a:pt x="511" y="121"/>
                  </a:cubicBezTo>
                  <a:cubicBezTo>
                    <a:pt x="469" y="121"/>
                    <a:pt x="469" y="121"/>
                    <a:pt x="469" y="121"/>
                  </a:cubicBezTo>
                  <a:cubicBezTo>
                    <a:pt x="465" y="121"/>
                    <a:pt x="462" y="125"/>
                    <a:pt x="462" y="128"/>
                  </a:cubicBezTo>
                  <a:cubicBezTo>
                    <a:pt x="462" y="238"/>
                    <a:pt x="462" y="238"/>
                    <a:pt x="462" y="238"/>
                  </a:cubicBezTo>
                  <a:cubicBezTo>
                    <a:pt x="462" y="241"/>
                    <a:pt x="465" y="245"/>
                    <a:pt x="469" y="245"/>
                  </a:cubicBezTo>
                  <a:cubicBezTo>
                    <a:pt x="511" y="245"/>
                    <a:pt x="511" y="245"/>
                    <a:pt x="511" y="245"/>
                  </a:cubicBezTo>
                  <a:cubicBezTo>
                    <a:pt x="511" y="359"/>
                    <a:pt x="511" y="359"/>
                    <a:pt x="511" y="359"/>
                  </a:cubicBezTo>
                  <a:cubicBezTo>
                    <a:pt x="511" y="363"/>
                    <a:pt x="514" y="366"/>
                    <a:pt x="518" y="366"/>
                  </a:cubicBezTo>
                  <a:cubicBezTo>
                    <a:pt x="522" y="366"/>
                    <a:pt x="525" y="363"/>
                    <a:pt x="525" y="359"/>
                  </a:cubicBezTo>
                  <a:cubicBezTo>
                    <a:pt x="525" y="245"/>
                    <a:pt x="525" y="245"/>
                    <a:pt x="525" y="245"/>
                  </a:cubicBezTo>
                  <a:cubicBezTo>
                    <a:pt x="567" y="245"/>
                    <a:pt x="567" y="245"/>
                    <a:pt x="567" y="245"/>
                  </a:cubicBezTo>
                  <a:cubicBezTo>
                    <a:pt x="571" y="245"/>
                    <a:pt x="574" y="241"/>
                    <a:pt x="574" y="238"/>
                  </a:cubicBezTo>
                  <a:cubicBezTo>
                    <a:pt x="574" y="128"/>
                    <a:pt x="574" y="128"/>
                    <a:pt x="574" y="128"/>
                  </a:cubicBezTo>
                  <a:cubicBezTo>
                    <a:pt x="574" y="125"/>
                    <a:pt x="571" y="121"/>
                    <a:pt x="567" y="121"/>
                  </a:cubicBezTo>
                  <a:close/>
                  <a:moveTo>
                    <a:pt x="560" y="231"/>
                  </a:moveTo>
                  <a:cubicBezTo>
                    <a:pt x="476" y="231"/>
                    <a:pt x="476" y="231"/>
                    <a:pt x="476" y="231"/>
                  </a:cubicBezTo>
                  <a:cubicBezTo>
                    <a:pt x="476" y="135"/>
                    <a:pt x="476" y="135"/>
                    <a:pt x="476" y="135"/>
                  </a:cubicBezTo>
                  <a:cubicBezTo>
                    <a:pt x="560" y="135"/>
                    <a:pt x="560" y="135"/>
                    <a:pt x="560" y="135"/>
                  </a:cubicBezTo>
                  <a:lnTo>
                    <a:pt x="560" y="231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grpSp>
        <p:nvGrpSpPr>
          <p:cNvPr id="60" name="Gruppieren 59"/>
          <p:cNvGrpSpPr/>
          <p:nvPr/>
        </p:nvGrpSpPr>
        <p:grpSpPr>
          <a:xfrm>
            <a:off x="8959749" y="1142295"/>
            <a:ext cx="775266" cy="767590"/>
            <a:chOff x="7457464" y="895503"/>
            <a:chExt cx="822960" cy="822960"/>
          </a:xfrm>
        </p:grpSpPr>
        <p:sp>
          <p:nvSpPr>
            <p:cNvPr id="36" name="Oval 66"/>
            <p:cNvSpPr>
              <a:spLocks noChangeArrowheads="1"/>
            </p:cNvSpPr>
            <p:nvPr/>
          </p:nvSpPr>
          <p:spPr bwMode="auto">
            <a:xfrm>
              <a:off x="7457464" y="895503"/>
              <a:ext cx="822960" cy="822960"/>
            </a:xfrm>
            <a:prstGeom prst="ellipse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37" name="Freeform 140"/>
            <p:cNvSpPr>
              <a:spLocks noEditPoints="1"/>
            </p:cNvSpPr>
            <p:nvPr/>
          </p:nvSpPr>
          <p:spPr bwMode="auto">
            <a:xfrm>
              <a:off x="7563018" y="1000276"/>
              <a:ext cx="611853" cy="614309"/>
            </a:xfrm>
            <a:custGeom>
              <a:avLst/>
              <a:gdLst>
                <a:gd name="T0" fmla="*/ 418 w 791"/>
                <a:gd name="T1" fmla="*/ 262 h 792"/>
                <a:gd name="T2" fmla="*/ 402 w 791"/>
                <a:gd name="T3" fmla="*/ 292 h 792"/>
                <a:gd name="T4" fmla="*/ 527 w 791"/>
                <a:gd name="T5" fmla="*/ 280 h 792"/>
                <a:gd name="T6" fmla="*/ 370 w 791"/>
                <a:gd name="T7" fmla="*/ 236 h 792"/>
                <a:gd name="T8" fmla="*/ 453 w 791"/>
                <a:gd name="T9" fmla="*/ 288 h 792"/>
                <a:gd name="T10" fmla="*/ 494 w 791"/>
                <a:gd name="T11" fmla="*/ 281 h 792"/>
                <a:gd name="T12" fmla="*/ 757 w 791"/>
                <a:gd name="T13" fmla="*/ 235 h 792"/>
                <a:gd name="T14" fmla="*/ 467 w 791"/>
                <a:gd name="T15" fmla="*/ 7 h 792"/>
                <a:gd name="T16" fmla="*/ 395 w 791"/>
                <a:gd name="T17" fmla="*/ 0 h 792"/>
                <a:gd name="T18" fmla="*/ 225 w 791"/>
                <a:gd name="T19" fmla="*/ 39 h 792"/>
                <a:gd name="T20" fmla="*/ 15 w 791"/>
                <a:gd name="T21" fmla="*/ 285 h 792"/>
                <a:gd name="T22" fmla="*/ 2 w 791"/>
                <a:gd name="T23" fmla="*/ 350 h 792"/>
                <a:gd name="T24" fmla="*/ 0 w 791"/>
                <a:gd name="T25" fmla="*/ 419 h 792"/>
                <a:gd name="T26" fmla="*/ 167 w 791"/>
                <a:gd name="T27" fmla="*/ 719 h 792"/>
                <a:gd name="T28" fmla="*/ 71 w 791"/>
                <a:gd name="T29" fmla="*/ 597 h 792"/>
                <a:gd name="T30" fmla="*/ 14 w 791"/>
                <a:gd name="T31" fmla="*/ 382 h 792"/>
                <a:gd name="T32" fmla="*/ 18 w 791"/>
                <a:gd name="T33" fmla="*/ 336 h 792"/>
                <a:gd name="T34" fmla="*/ 122 w 791"/>
                <a:gd name="T35" fmla="*/ 524 h 792"/>
                <a:gd name="T36" fmla="*/ 117 w 791"/>
                <a:gd name="T37" fmla="*/ 177 h 792"/>
                <a:gd name="T38" fmla="*/ 101 w 791"/>
                <a:gd name="T39" fmla="*/ 153 h 792"/>
                <a:gd name="T40" fmla="*/ 198 w 791"/>
                <a:gd name="T41" fmla="*/ 69 h 792"/>
                <a:gd name="T42" fmla="*/ 248 w 791"/>
                <a:gd name="T43" fmla="*/ 68 h 792"/>
                <a:gd name="T44" fmla="*/ 221 w 791"/>
                <a:gd name="T45" fmla="*/ 77 h 792"/>
                <a:gd name="T46" fmla="*/ 443 w 791"/>
                <a:gd name="T47" fmla="*/ 17 h 792"/>
                <a:gd name="T48" fmla="*/ 300 w 791"/>
                <a:gd name="T49" fmla="*/ 86 h 792"/>
                <a:gd name="T50" fmla="*/ 263 w 791"/>
                <a:gd name="T51" fmla="*/ 64 h 792"/>
                <a:gd name="T52" fmla="*/ 757 w 791"/>
                <a:gd name="T53" fmla="*/ 519 h 792"/>
                <a:gd name="T54" fmla="*/ 732 w 791"/>
                <a:gd name="T55" fmla="*/ 273 h 792"/>
                <a:gd name="T56" fmla="*/ 725 w 791"/>
                <a:gd name="T57" fmla="*/ 259 h 792"/>
                <a:gd name="T58" fmla="*/ 642 w 791"/>
                <a:gd name="T59" fmla="*/ 315 h 792"/>
                <a:gd name="T60" fmla="*/ 602 w 791"/>
                <a:gd name="T61" fmla="*/ 392 h 792"/>
                <a:gd name="T62" fmla="*/ 591 w 791"/>
                <a:gd name="T63" fmla="*/ 419 h 792"/>
                <a:gd name="T64" fmla="*/ 454 w 791"/>
                <a:gd name="T65" fmla="*/ 677 h 792"/>
                <a:gd name="T66" fmla="*/ 323 w 791"/>
                <a:gd name="T67" fmla="*/ 460 h 792"/>
                <a:gd name="T68" fmla="*/ 310 w 791"/>
                <a:gd name="T69" fmla="*/ 240 h 792"/>
                <a:gd name="T70" fmla="*/ 434 w 791"/>
                <a:gd name="T71" fmla="*/ 180 h 792"/>
                <a:gd name="T72" fmla="*/ 400 w 791"/>
                <a:gd name="T73" fmla="*/ 104 h 792"/>
                <a:gd name="T74" fmla="*/ 79 w 791"/>
                <a:gd name="T75" fmla="*/ 444 h 792"/>
                <a:gd name="T76" fmla="*/ 322 w 791"/>
                <a:gd name="T77" fmla="*/ 97 h 792"/>
                <a:gd name="T78" fmla="*/ 305 w 791"/>
                <a:gd name="T79" fmla="*/ 115 h 792"/>
                <a:gd name="T80" fmla="*/ 479 w 791"/>
                <a:gd name="T81" fmla="*/ 76 h 792"/>
                <a:gd name="T82" fmla="*/ 327 w 791"/>
                <a:gd name="T83" fmla="*/ 122 h 792"/>
                <a:gd name="T84" fmla="*/ 381 w 791"/>
                <a:gd name="T85" fmla="*/ 164 h 792"/>
                <a:gd name="T86" fmla="*/ 337 w 791"/>
                <a:gd name="T87" fmla="*/ 189 h 792"/>
                <a:gd name="T88" fmla="*/ 255 w 791"/>
                <a:gd name="T89" fmla="*/ 144 h 792"/>
                <a:gd name="T90" fmla="*/ 360 w 791"/>
                <a:gd name="T91" fmla="*/ 168 h 792"/>
                <a:gd name="T92" fmla="*/ 330 w 791"/>
                <a:gd name="T93" fmla="*/ 176 h 792"/>
                <a:gd name="T94" fmla="*/ 229 w 791"/>
                <a:gd name="T95" fmla="*/ 389 h 792"/>
                <a:gd name="T96" fmla="*/ 325 w 791"/>
                <a:gd name="T97" fmla="*/ 474 h 792"/>
                <a:gd name="T98" fmla="*/ 402 w 791"/>
                <a:gd name="T99" fmla="*/ 567 h 792"/>
                <a:gd name="T100" fmla="*/ 423 w 791"/>
                <a:gd name="T101" fmla="*/ 165 h 792"/>
                <a:gd name="T102" fmla="*/ 240 w 791"/>
                <a:gd name="T103" fmla="*/ 648 h 792"/>
                <a:gd name="T104" fmla="*/ 220 w 791"/>
                <a:gd name="T105" fmla="*/ 533 h 792"/>
                <a:gd name="T106" fmla="*/ 458 w 791"/>
                <a:gd name="T107" fmla="*/ 691 h 792"/>
                <a:gd name="T108" fmla="*/ 536 w 791"/>
                <a:gd name="T109" fmla="*/ 648 h 792"/>
                <a:gd name="T110" fmla="*/ 570 w 791"/>
                <a:gd name="T111" fmla="*/ 592 h 792"/>
                <a:gd name="T112" fmla="*/ 669 w 791"/>
                <a:gd name="T113" fmla="*/ 662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91" h="792">
                  <a:moveTo>
                    <a:pt x="495" y="267"/>
                  </a:moveTo>
                  <a:cubicBezTo>
                    <a:pt x="495" y="267"/>
                    <a:pt x="495" y="267"/>
                    <a:pt x="494" y="267"/>
                  </a:cubicBezTo>
                  <a:cubicBezTo>
                    <a:pt x="489" y="267"/>
                    <a:pt x="472" y="265"/>
                    <a:pt x="463" y="264"/>
                  </a:cubicBezTo>
                  <a:cubicBezTo>
                    <a:pt x="453" y="252"/>
                    <a:pt x="430" y="223"/>
                    <a:pt x="413" y="223"/>
                  </a:cubicBezTo>
                  <a:cubicBezTo>
                    <a:pt x="413" y="223"/>
                    <a:pt x="412" y="223"/>
                    <a:pt x="411" y="223"/>
                  </a:cubicBezTo>
                  <a:cubicBezTo>
                    <a:pt x="404" y="224"/>
                    <a:pt x="402" y="228"/>
                    <a:pt x="402" y="230"/>
                  </a:cubicBezTo>
                  <a:cubicBezTo>
                    <a:pt x="400" y="238"/>
                    <a:pt x="407" y="244"/>
                    <a:pt x="417" y="252"/>
                  </a:cubicBezTo>
                  <a:cubicBezTo>
                    <a:pt x="419" y="254"/>
                    <a:pt x="422" y="256"/>
                    <a:pt x="424" y="258"/>
                  </a:cubicBezTo>
                  <a:cubicBezTo>
                    <a:pt x="423" y="259"/>
                    <a:pt x="420" y="261"/>
                    <a:pt x="418" y="262"/>
                  </a:cubicBezTo>
                  <a:cubicBezTo>
                    <a:pt x="413" y="249"/>
                    <a:pt x="392" y="233"/>
                    <a:pt x="379" y="224"/>
                  </a:cubicBezTo>
                  <a:cubicBezTo>
                    <a:pt x="376" y="223"/>
                    <a:pt x="373" y="222"/>
                    <a:pt x="370" y="222"/>
                  </a:cubicBezTo>
                  <a:cubicBezTo>
                    <a:pt x="351" y="222"/>
                    <a:pt x="330" y="258"/>
                    <a:pt x="324" y="269"/>
                  </a:cubicBezTo>
                  <a:cubicBezTo>
                    <a:pt x="323" y="270"/>
                    <a:pt x="323" y="272"/>
                    <a:pt x="323" y="273"/>
                  </a:cubicBezTo>
                  <a:cubicBezTo>
                    <a:pt x="323" y="278"/>
                    <a:pt x="327" y="290"/>
                    <a:pt x="346" y="290"/>
                  </a:cubicBezTo>
                  <a:cubicBezTo>
                    <a:pt x="361" y="290"/>
                    <a:pt x="381" y="283"/>
                    <a:pt x="391" y="279"/>
                  </a:cubicBezTo>
                  <a:cubicBezTo>
                    <a:pt x="391" y="279"/>
                    <a:pt x="391" y="279"/>
                    <a:pt x="391" y="279"/>
                  </a:cubicBezTo>
                  <a:cubicBezTo>
                    <a:pt x="391" y="279"/>
                    <a:pt x="392" y="279"/>
                    <a:pt x="392" y="279"/>
                  </a:cubicBezTo>
                  <a:cubicBezTo>
                    <a:pt x="394" y="279"/>
                    <a:pt x="399" y="287"/>
                    <a:pt x="402" y="292"/>
                  </a:cubicBezTo>
                  <a:cubicBezTo>
                    <a:pt x="407" y="301"/>
                    <a:pt x="412" y="310"/>
                    <a:pt x="421" y="315"/>
                  </a:cubicBezTo>
                  <a:cubicBezTo>
                    <a:pt x="424" y="317"/>
                    <a:pt x="428" y="318"/>
                    <a:pt x="432" y="318"/>
                  </a:cubicBezTo>
                  <a:cubicBezTo>
                    <a:pt x="432" y="318"/>
                    <a:pt x="432" y="318"/>
                    <a:pt x="432" y="318"/>
                  </a:cubicBezTo>
                  <a:cubicBezTo>
                    <a:pt x="445" y="318"/>
                    <a:pt x="455" y="308"/>
                    <a:pt x="463" y="299"/>
                  </a:cubicBezTo>
                  <a:cubicBezTo>
                    <a:pt x="465" y="300"/>
                    <a:pt x="468" y="301"/>
                    <a:pt x="471" y="302"/>
                  </a:cubicBezTo>
                  <a:cubicBezTo>
                    <a:pt x="480" y="306"/>
                    <a:pt x="492" y="310"/>
                    <a:pt x="503" y="310"/>
                  </a:cubicBezTo>
                  <a:cubicBezTo>
                    <a:pt x="503" y="310"/>
                    <a:pt x="503" y="310"/>
                    <a:pt x="503" y="310"/>
                  </a:cubicBezTo>
                  <a:cubicBezTo>
                    <a:pt x="514" y="310"/>
                    <a:pt x="521" y="305"/>
                    <a:pt x="524" y="300"/>
                  </a:cubicBezTo>
                  <a:cubicBezTo>
                    <a:pt x="531" y="291"/>
                    <a:pt x="529" y="284"/>
                    <a:pt x="527" y="280"/>
                  </a:cubicBezTo>
                  <a:cubicBezTo>
                    <a:pt x="521" y="267"/>
                    <a:pt x="498" y="266"/>
                    <a:pt x="497" y="266"/>
                  </a:cubicBezTo>
                  <a:cubicBezTo>
                    <a:pt x="496" y="266"/>
                    <a:pt x="495" y="267"/>
                    <a:pt x="495" y="267"/>
                  </a:cubicBezTo>
                  <a:close/>
                  <a:moveTo>
                    <a:pt x="403" y="269"/>
                  </a:moveTo>
                  <a:cubicBezTo>
                    <a:pt x="400" y="267"/>
                    <a:pt x="396" y="265"/>
                    <a:pt x="392" y="265"/>
                  </a:cubicBezTo>
                  <a:cubicBezTo>
                    <a:pt x="390" y="265"/>
                    <a:pt x="388" y="265"/>
                    <a:pt x="387" y="266"/>
                  </a:cubicBezTo>
                  <a:cubicBezTo>
                    <a:pt x="386" y="266"/>
                    <a:pt x="386" y="266"/>
                    <a:pt x="386" y="266"/>
                  </a:cubicBezTo>
                  <a:cubicBezTo>
                    <a:pt x="377" y="269"/>
                    <a:pt x="358" y="276"/>
                    <a:pt x="346" y="276"/>
                  </a:cubicBezTo>
                  <a:cubicBezTo>
                    <a:pt x="340" y="276"/>
                    <a:pt x="338" y="274"/>
                    <a:pt x="337" y="273"/>
                  </a:cubicBezTo>
                  <a:cubicBezTo>
                    <a:pt x="348" y="255"/>
                    <a:pt x="363" y="236"/>
                    <a:pt x="370" y="236"/>
                  </a:cubicBezTo>
                  <a:cubicBezTo>
                    <a:pt x="370" y="236"/>
                    <a:pt x="371" y="236"/>
                    <a:pt x="371" y="236"/>
                  </a:cubicBezTo>
                  <a:cubicBezTo>
                    <a:pt x="391" y="250"/>
                    <a:pt x="403" y="262"/>
                    <a:pt x="405" y="267"/>
                  </a:cubicBezTo>
                  <a:cubicBezTo>
                    <a:pt x="404" y="268"/>
                    <a:pt x="404" y="268"/>
                    <a:pt x="403" y="269"/>
                  </a:cubicBezTo>
                  <a:close/>
                  <a:moveTo>
                    <a:pt x="515" y="286"/>
                  </a:moveTo>
                  <a:cubicBezTo>
                    <a:pt x="515" y="287"/>
                    <a:pt x="515" y="289"/>
                    <a:pt x="513" y="292"/>
                  </a:cubicBezTo>
                  <a:cubicBezTo>
                    <a:pt x="511" y="294"/>
                    <a:pt x="509" y="296"/>
                    <a:pt x="503" y="296"/>
                  </a:cubicBezTo>
                  <a:cubicBezTo>
                    <a:pt x="494" y="296"/>
                    <a:pt x="484" y="292"/>
                    <a:pt x="476" y="289"/>
                  </a:cubicBezTo>
                  <a:cubicBezTo>
                    <a:pt x="469" y="286"/>
                    <a:pt x="465" y="285"/>
                    <a:pt x="461" y="285"/>
                  </a:cubicBezTo>
                  <a:cubicBezTo>
                    <a:pt x="456" y="285"/>
                    <a:pt x="454" y="287"/>
                    <a:pt x="453" y="288"/>
                  </a:cubicBezTo>
                  <a:cubicBezTo>
                    <a:pt x="446" y="298"/>
                    <a:pt x="438" y="304"/>
                    <a:pt x="432" y="304"/>
                  </a:cubicBezTo>
                  <a:cubicBezTo>
                    <a:pt x="431" y="304"/>
                    <a:pt x="429" y="304"/>
                    <a:pt x="428" y="303"/>
                  </a:cubicBezTo>
                  <a:cubicBezTo>
                    <a:pt x="422" y="300"/>
                    <a:pt x="418" y="292"/>
                    <a:pt x="414" y="285"/>
                  </a:cubicBezTo>
                  <a:cubicBezTo>
                    <a:pt x="413" y="284"/>
                    <a:pt x="412" y="282"/>
                    <a:pt x="411" y="281"/>
                  </a:cubicBezTo>
                  <a:cubicBezTo>
                    <a:pt x="418" y="279"/>
                    <a:pt x="432" y="271"/>
                    <a:pt x="436" y="266"/>
                  </a:cubicBezTo>
                  <a:cubicBezTo>
                    <a:pt x="438" y="263"/>
                    <a:pt x="440" y="261"/>
                    <a:pt x="439" y="258"/>
                  </a:cubicBezTo>
                  <a:cubicBezTo>
                    <a:pt x="444" y="263"/>
                    <a:pt x="449" y="269"/>
                    <a:pt x="453" y="275"/>
                  </a:cubicBezTo>
                  <a:cubicBezTo>
                    <a:pt x="454" y="276"/>
                    <a:pt x="456" y="277"/>
                    <a:pt x="458" y="278"/>
                  </a:cubicBezTo>
                  <a:cubicBezTo>
                    <a:pt x="459" y="278"/>
                    <a:pt x="487" y="281"/>
                    <a:pt x="494" y="281"/>
                  </a:cubicBezTo>
                  <a:cubicBezTo>
                    <a:pt x="496" y="281"/>
                    <a:pt x="496" y="281"/>
                    <a:pt x="497" y="280"/>
                  </a:cubicBezTo>
                  <a:cubicBezTo>
                    <a:pt x="497" y="280"/>
                    <a:pt x="497" y="280"/>
                    <a:pt x="497" y="280"/>
                  </a:cubicBezTo>
                  <a:cubicBezTo>
                    <a:pt x="504" y="280"/>
                    <a:pt x="513" y="283"/>
                    <a:pt x="515" y="286"/>
                  </a:cubicBezTo>
                  <a:close/>
                  <a:moveTo>
                    <a:pt x="691" y="658"/>
                  </a:moveTo>
                  <a:cubicBezTo>
                    <a:pt x="724" y="621"/>
                    <a:pt x="751" y="577"/>
                    <a:pt x="768" y="529"/>
                  </a:cubicBezTo>
                  <a:cubicBezTo>
                    <a:pt x="768" y="528"/>
                    <a:pt x="769" y="527"/>
                    <a:pt x="769" y="527"/>
                  </a:cubicBezTo>
                  <a:cubicBezTo>
                    <a:pt x="783" y="486"/>
                    <a:pt x="791" y="442"/>
                    <a:pt x="791" y="396"/>
                  </a:cubicBezTo>
                  <a:cubicBezTo>
                    <a:pt x="791" y="339"/>
                    <a:pt x="779" y="285"/>
                    <a:pt x="757" y="236"/>
                  </a:cubicBezTo>
                  <a:cubicBezTo>
                    <a:pt x="757" y="236"/>
                    <a:pt x="757" y="235"/>
                    <a:pt x="757" y="235"/>
                  </a:cubicBezTo>
                  <a:cubicBezTo>
                    <a:pt x="709" y="128"/>
                    <a:pt x="616" y="48"/>
                    <a:pt x="505" y="16"/>
                  </a:cubicBezTo>
                  <a:cubicBezTo>
                    <a:pt x="504" y="16"/>
                    <a:pt x="504" y="15"/>
                    <a:pt x="503" y="15"/>
                  </a:cubicBezTo>
                  <a:cubicBezTo>
                    <a:pt x="501" y="15"/>
                    <a:pt x="498" y="14"/>
                    <a:pt x="496" y="13"/>
                  </a:cubicBezTo>
                  <a:cubicBezTo>
                    <a:pt x="495" y="13"/>
                    <a:pt x="494" y="13"/>
                    <a:pt x="493" y="12"/>
                  </a:cubicBezTo>
                  <a:cubicBezTo>
                    <a:pt x="490" y="12"/>
                    <a:pt x="488" y="11"/>
                    <a:pt x="486" y="11"/>
                  </a:cubicBezTo>
                  <a:cubicBezTo>
                    <a:pt x="484" y="10"/>
                    <a:pt x="483" y="10"/>
                    <a:pt x="482" y="10"/>
                  </a:cubicBezTo>
                  <a:cubicBezTo>
                    <a:pt x="480" y="10"/>
                    <a:pt x="479" y="9"/>
                    <a:pt x="477" y="9"/>
                  </a:cubicBezTo>
                  <a:cubicBezTo>
                    <a:pt x="477" y="9"/>
                    <a:pt x="477" y="9"/>
                    <a:pt x="477" y="9"/>
                  </a:cubicBezTo>
                  <a:cubicBezTo>
                    <a:pt x="474" y="8"/>
                    <a:pt x="471" y="8"/>
                    <a:pt x="467" y="7"/>
                  </a:cubicBezTo>
                  <a:cubicBezTo>
                    <a:pt x="467" y="7"/>
                    <a:pt x="467" y="7"/>
                    <a:pt x="467" y="7"/>
                  </a:cubicBezTo>
                  <a:cubicBezTo>
                    <a:pt x="467" y="7"/>
                    <a:pt x="466" y="7"/>
                    <a:pt x="466" y="7"/>
                  </a:cubicBezTo>
                  <a:cubicBezTo>
                    <a:pt x="461" y="6"/>
                    <a:pt x="456" y="5"/>
                    <a:pt x="451" y="4"/>
                  </a:cubicBezTo>
                  <a:cubicBezTo>
                    <a:pt x="450" y="4"/>
                    <a:pt x="449" y="4"/>
                    <a:pt x="448" y="4"/>
                  </a:cubicBezTo>
                  <a:cubicBezTo>
                    <a:pt x="443" y="3"/>
                    <a:pt x="438" y="3"/>
                    <a:pt x="432" y="2"/>
                  </a:cubicBezTo>
                  <a:cubicBezTo>
                    <a:pt x="432" y="2"/>
                    <a:pt x="431" y="2"/>
                    <a:pt x="430" y="2"/>
                  </a:cubicBezTo>
                  <a:cubicBezTo>
                    <a:pt x="425" y="1"/>
                    <a:pt x="419" y="1"/>
                    <a:pt x="414" y="1"/>
                  </a:cubicBezTo>
                  <a:cubicBezTo>
                    <a:pt x="413" y="1"/>
                    <a:pt x="413" y="1"/>
                    <a:pt x="412" y="1"/>
                  </a:cubicBezTo>
                  <a:cubicBezTo>
                    <a:pt x="407" y="0"/>
                    <a:pt x="401" y="0"/>
                    <a:pt x="395" y="0"/>
                  </a:cubicBezTo>
                  <a:cubicBezTo>
                    <a:pt x="392" y="0"/>
                    <a:pt x="388" y="0"/>
                    <a:pt x="385" y="0"/>
                  </a:cubicBezTo>
                  <a:cubicBezTo>
                    <a:pt x="383" y="1"/>
                    <a:pt x="381" y="1"/>
                    <a:pt x="379" y="1"/>
                  </a:cubicBezTo>
                  <a:cubicBezTo>
                    <a:pt x="378" y="1"/>
                    <a:pt x="376" y="1"/>
                    <a:pt x="374" y="1"/>
                  </a:cubicBezTo>
                  <a:cubicBezTo>
                    <a:pt x="372" y="1"/>
                    <a:pt x="369" y="1"/>
                    <a:pt x="367" y="1"/>
                  </a:cubicBezTo>
                  <a:cubicBezTo>
                    <a:pt x="366" y="1"/>
                    <a:pt x="365" y="1"/>
                    <a:pt x="364" y="2"/>
                  </a:cubicBezTo>
                  <a:cubicBezTo>
                    <a:pt x="361" y="2"/>
                    <a:pt x="358" y="2"/>
                    <a:pt x="355" y="2"/>
                  </a:cubicBezTo>
                  <a:cubicBezTo>
                    <a:pt x="355" y="2"/>
                    <a:pt x="355" y="2"/>
                    <a:pt x="355" y="2"/>
                  </a:cubicBezTo>
                  <a:cubicBezTo>
                    <a:pt x="310" y="7"/>
                    <a:pt x="267" y="19"/>
                    <a:pt x="226" y="38"/>
                  </a:cubicBezTo>
                  <a:cubicBezTo>
                    <a:pt x="226" y="38"/>
                    <a:pt x="226" y="39"/>
                    <a:pt x="225" y="39"/>
                  </a:cubicBezTo>
                  <a:cubicBezTo>
                    <a:pt x="215" y="44"/>
                    <a:pt x="205" y="49"/>
                    <a:pt x="195" y="55"/>
                  </a:cubicBezTo>
                  <a:cubicBezTo>
                    <a:pt x="195" y="55"/>
                    <a:pt x="195" y="55"/>
                    <a:pt x="194" y="55"/>
                  </a:cubicBezTo>
                  <a:cubicBezTo>
                    <a:pt x="140" y="87"/>
                    <a:pt x="93" y="133"/>
                    <a:pt x="59" y="187"/>
                  </a:cubicBezTo>
                  <a:cubicBezTo>
                    <a:pt x="59" y="187"/>
                    <a:pt x="59" y="187"/>
                    <a:pt x="59" y="188"/>
                  </a:cubicBezTo>
                  <a:cubicBezTo>
                    <a:pt x="44" y="211"/>
                    <a:pt x="32" y="237"/>
                    <a:pt x="23" y="263"/>
                  </a:cubicBezTo>
                  <a:cubicBezTo>
                    <a:pt x="22" y="264"/>
                    <a:pt x="22" y="264"/>
                    <a:pt x="22" y="265"/>
                  </a:cubicBezTo>
                  <a:cubicBezTo>
                    <a:pt x="20" y="270"/>
                    <a:pt x="19" y="275"/>
                    <a:pt x="17" y="280"/>
                  </a:cubicBezTo>
                  <a:cubicBezTo>
                    <a:pt x="17" y="280"/>
                    <a:pt x="17" y="280"/>
                    <a:pt x="17" y="280"/>
                  </a:cubicBezTo>
                  <a:cubicBezTo>
                    <a:pt x="16" y="282"/>
                    <a:pt x="16" y="284"/>
                    <a:pt x="15" y="285"/>
                  </a:cubicBezTo>
                  <a:cubicBezTo>
                    <a:pt x="15" y="287"/>
                    <a:pt x="15" y="288"/>
                    <a:pt x="14" y="290"/>
                  </a:cubicBezTo>
                  <a:cubicBezTo>
                    <a:pt x="13" y="292"/>
                    <a:pt x="13" y="294"/>
                    <a:pt x="12" y="297"/>
                  </a:cubicBezTo>
                  <a:cubicBezTo>
                    <a:pt x="11" y="300"/>
                    <a:pt x="11" y="303"/>
                    <a:pt x="10" y="307"/>
                  </a:cubicBezTo>
                  <a:cubicBezTo>
                    <a:pt x="9" y="309"/>
                    <a:pt x="9" y="310"/>
                    <a:pt x="9" y="312"/>
                  </a:cubicBezTo>
                  <a:cubicBezTo>
                    <a:pt x="8" y="315"/>
                    <a:pt x="8" y="317"/>
                    <a:pt x="7" y="320"/>
                  </a:cubicBezTo>
                  <a:cubicBezTo>
                    <a:pt x="7" y="321"/>
                    <a:pt x="6" y="323"/>
                    <a:pt x="6" y="325"/>
                  </a:cubicBezTo>
                  <a:cubicBezTo>
                    <a:pt x="5" y="328"/>
                    <a:pt x="5" y="332"/>
                    <a:pt x="4" y="336"/>
                  </a:cubicBezTo>
                  <a:cubicBezTo>
                    <a:pt x="4" y="337"/>
                    <a:pt x="4" y="338"/>
                    <a:pt x="4" y="340"/>
                  </a:cubicBezTo>
                  <a:cubicBezTo>
                    <a:pt x="3" y="343"/>
                    <a:pt x="3" y="346"/>
                    <a:pt x="2" y="350"/>
                  </a:cubicBezTo>
                  <a:cubicBezTo>
                    <a:pt x="2" y="351"/>
                    <a:pt x="2" y="352"/>
                    <a:pt x="2" y="353"/>
                  </a:cubicBezTo>
                  <a:cubicBezTo>
                    <a:pt x="1" y="358"/>
                    <a:pt x="1" y="362"/>
                    <a:pt x="1" y="366"/>
                  </a:cubicBezTo>
                  <a:cubicBezTo>
                    <a:pt x="1" y="367"/>
                    <a:pt x="1" y="367"/>
                    <a:pt x="1" y="368"/>
                  </a:cubicBezTo>
                  <a:cubicBezTo>
                    <a:pt x="0" y="372"/>
                    <a:pt x="0" y="375"/>
                    <a:pt x="0" y="379"/>
                  </a:cubicBezTo>
                  <a:cubicBezTo>
                    <a:pt x="0" y="380"/>
                    <a:pt x="0" y="382"/>
                    <a:pt x="0" y="383"/>
                  </a:cubicBezTo>
                  <a:cubicBezTo>
                    <a:pt x="0" y="387"/>
                    <a:pt x="0" y="392"/>
                    <a:pt x="0" y="396"/>
                  </a:cubicBezTo>
                  <a:cubicBezTo>
                    <a:pt x="0" y="400"/>
                    <a:pt x="0" y="404"/>
                    <a:pt x="0" y="407"/>
                  </a:cubicBezTo>
                  <a:cubicBezTo>
                    <a:pt x="0" y="408"/>
                    <a:pt x="0" y="409"/>
                    <a:pt x="0" y="410"/>
                  </a:cubicBezTo>
                  <a:cubicBezTo>
                    <a:pt x="0" y="413"/>
                    <a:pt x="0" y="416"/>
                    <a:pt x="0" y="419"/>
                  </a:cubicBezTo>
                  <a:cubicBezTo>
                    <a:pt x="0" y="420"/>
                    <a:pt x="0" y="420"/>
                    <a:pt x="0" y="421"/>
                  </a:cubicBezTo>
                  <a:cubicBezTo>
                    <a:pt x="1" y="425"/>
                    <a:pt x="1" y="428"/>
                    <a:pt x="1" y="431"/>
                  </a:cubicBezTo>
                  <a:cubicBezTo>
                    <a:pt x="1" y="432"/>
                    <a:pt x="1" y="432"/>
                    <a:pt x="1" y="432"/>
                  </a:cubicBezTo>
                  <a:cubicBezTo>
                    <a:pt x="7" y="492"/>
                    <a:pt x="26" y="548"/>
                    <a:pt x="55" y="598"/>
                  </a:cubicBezTo>
                  <a:cubicBezTo>
                    <a:pt x="55" y="598"/>
                    <a:pt x="55" y="598"/>
                    <a:pt x="55" y="598"/>
                  </a:cubicBezTo>
                  <a:cubicBezTo>
                    <a:pt x="57" y="601"/>
                    <a:pt x="59" y="604"/>
                    <a:pt x="60" y="606"/>
                  </a:cubicBezTo>
                  <a:cubicBezTo>
                    <a:pt x="61" y="607"/>
                    <a:pt x="61" y="608"/>
                    <a:pt x="62" y="609"/>
                  </a:cubicBezTo>
                  <a:cubicBezTo>
                    <a:pt x="63" y="610"/>
                    <a:pt x="64" y="611"/>
                    <a:pt x="64" y="613"/>
                  </a:cubicBezTo>
                  <a:cubicBezTo>
                    <a:pt x="91" y="654"/>
                    <a:pt x="126" y="690"/>
                    <a:pt x="167" y="719"/>
                  </a:cubicBezTo>
                  <a:cubicBezTo>
                    <a:pt x="167" y="719"/>
                    <a:pt x="167" y="719"/>
                    <a:pt x="168" y="719"/>
                  </a:cubicBezTo>
                  <a:cubicBezTo>
                    <a:pt x="232" y="765"/>
                    <a:pt x="311" y="792"/>
                    <a:pt x="395" y="792"/>
                  </a:cubicBezTo>
                  <a:cubicBezTo>
                    <a:pt x="512" y="792"/>
                    <a:pt x="616" y="741"/>
                    <a:pt x="689" y="661"/>
                  </a:cubicBezTo>
                  <a:cubicBezTo>
                    <a:pt x="690" y="660"/>
                    <a:pt x="691" y="659"/>
                    <a:pt x="691" y="658"/>
                  </a:cubicBezTo>
                  <a:close/>
                  <a:moveTo>
                    <a:pt x="79" y="610"/>
                  </a:moveTo>
                  <a:cubicBezTo>
                    <a:pt x="79" y="610"/>
                    <a:pt x="79" y="609"/>
                    <a:pt x="79" y="609"/>
                  </a:cubicBezTo>
                  <a:cubicBezTo>
                    <a:pt x="77" y="607"/>
                    <a:pt x="76" y="605"/>
                    <a:pt x="75" y="604"/>
                  </a:cubicBezTo>
                  <a:cubicBezTo>
                    <a:pt x="74" y="602"/>
                    <a:pt x="73" y="601"/>
                    <a:pt x="73" y="600"/>
                  </a:cubicBezTo>
                  <a:cubicBezTo>
                    <a:pt x="72" y="599"/>
                    <a:pt x="71" y="598"/>
                    <a:pt x="71" y="597"/>
                  </a:cubicBezTo>
                  <a:cubicBezTo>
                    <a:pt x="69" y="594"/>
                    <a:pt x="68" y="592"/>
                    <a:pt x="67" y="590"/>
                  </a:cubicBezTo>
                  <a:cubicBezTo>
                    <a:pt x="67" y="590"/>
                    <a:pt x="66" y="589"/>
                    <a:pt x="66" y="589"/>
                  </a:cubicBezTo>
                  <a:cubicBezTo>
                    <a:pt x="36" y="537"/>
                    <a:pt x="18" y="478"/>
                    <a:pt x="14" y="417"/>
                  </a:cubicBezTo>
                  <a:cubicBezTo>
                    <a:pt x="14" y="417"/>
                    <a:pt x="14" y="417"/>
                    <a:pt x="14" y="417"/>
                  </a:cubicBezTo>
                  <a:cubicBezTo>
                    <a:pt x="14" y="414"/>
                    <a:pt x="14" y="411"/>
                    <a:pt x="14" y="407"/>
                  </a:cubicBezTo>
                  <a:cubicBezTo>
                    <a:pt x="14" y="407"/>
                    <a:pt x="14" y="407"/>
                    <a:pt x="14" y="406"/>
                  </a:cubicBezTo>
                  <a:cubicBezTo>
                    <a:pt x="14" y="403"/>
                    <a:pt x="14" y="399"/>
                    <a:pt x="14" y="396"/>
                  </a:cubicBezTo>
                  <a:cubicBezTo>
                    <a:pt x="14" y="393"/>
                    <a:pt x="14" y="389"/>
                    <a:pt x="14" y="386"/>
                  </a:cubicBezTo>
                  <a:cubicBezTo>
                    <a:pt x="14" y="385"/>
                    <a:pt x="14" y="384"/>
                    <a:pt x="14" y="382"/>
                  </a:cubicBezTo>
                  <a:cubicBezTo>
                    <a:pt x="14" y="380"/>
                    <a:pt x="14" y="378"/>
                    <a:pt x="14" y="376"/>
                  </a:cubicBezTo>
                  <a:cubicBezTo>
                    <a:pt x="14" y="374"/>
                    <a:pt x="14" y="373"/>
                    <a:pt x="14" y="371"/>
                  </a:cubicBezTo>
                  <a:cubicBezTo>
                    <a:pt x="15" y="370"/>
                    <a:pt x="15" y="368"/>
                    <a:pt x="15" y="366"/>
                  </a:cubicBezTo>
                  <a:cubicBezTo>
                    <a:pt x="15" y="364"/>
                    <a:pt x="15" y="362"/>
                    <a:pt x="15" y="361"/>
                  </a:cubicBezTo>
                  <a:cubicBezTo>
                    <a:pt x="15" y="359"/>
                    <a:pt x="16" y="357"/>
                    <a:pt x="16" y="356"/>
                  </a:cubicBezTo>
                  <a:cubicBezTo>
                    <a:pt x="16" y="354"/>
                    <a:pt x="16" y="352"/>
                    <a:pt x="16" y="351"/>
                  </a:cubicBezTo>
                  <a:cubicBezTo>
                    <a:pt x="17" y="349"/>
                    <a:pt x="17" y="347"/>
                    <a:pt x="17" y="346"/>
                  </a:cubicBezTo>
                  <a:cubicBezTo>
                    <a:pt x="17" y="344"/>
                    <a:pt x="17" y="342"/>
                    <a:pt x="18" y="340"/>
                  </a:cubicBezTo>
                  <a:cubicBezTo>
                    <a:pt x="18" y="339"/>
                    <a:pt x="18" y="338"/>
                    <a:pt x="18" y="336"/>
                  </a:cubicBezTo>
                  <a:cubicBezTo>
                    <a:pt x="19" y="334"/>
                    <a:pt x="19" y="332"/>
                    <a:pt x="19" y="330"/>
                  </a:cubicBezTo>
                  <a:cubicBezTo>
                    <a:pt x="19" y="329"/>
                    <a:pt x="20" y="328"/>
                    <a:pt x="20" y="327"/>
                  </a:cubicBezTo>
                  <a:cubicBezTo>
                    <a:pt x="20" y="325"/>
                    <a:pt x="21" y="322"/>
                    <a:pt x="21" y="320"/>
                  </a:cubicBezTo>
                  <a:cubicBezTo>
                    <a:pt x="21" y="319"/>
                    <a:pt x="22" y="319"/>
                    <a:pt x="22" y="318"/>
                  </a:cubicBezTo>
                  <a:cubicBezTo>
                    <a:pt x="22" y="316"/>
                    <a:pt x="22" y="315"/>
                    <a:pt x="23" y="313"/>
                  </a:cubicBezTo>
                  <a:cubicBezTo>
                    <a:pt x="34" y="366"/>
                    <a:pt x="49" y="425"/>
                    <a:pt x="67" y="452"/>
                  </a:cubicBezTo>
                  <a:cubicBezTo>
                    <a:pt x="85" y="479"/>
                    <a:pt x="102" y="487"/>
                    <a:pt x="113" y="492"/>
                  </a:cubicBezTo>
                  <a:cubicBezTo>
                    <a:pt x="123" y="497"/>
                    <a:pt x="125" y="498"/>
                    <a:pt x="124" y="509"/>
                  </a:cubicBezTo>
                  <a:cubicBezTo>
                    <a:pt x="124" y="513"/>
                    <a:pt x="123" y="518"/>
                    <a:pt x="122" y="524"/>
                  </a:cubicBezTo>
                  <a:cubicBezTo>
                    <a:pt x="122" y="524"/>
                    <a:pt x="122" y="524"/>
                    <a:pt x="122" y="524"/>
                  </a:cubicBezTo>
                  <a:cubicBezTo>
                    <a:pt x="121" y="525"/>
                    <a:pt x="121" y="527"/>
                    <a:pt x="121" y="528"/>
                  </a:cubicBezTo>
                  <a:cubicBezTo>
                    <a:pt x="115" y="555"/>
                    <a:pt x="107" y="595"/>
                    <a:pt x="129" y="652"/>
                  </a:cubicBezTo>
                  <a:cubicBezTo>
                    <a:pt x="129" y="653"/>
                    <a:pt x="129" y="654"/>
                    <a:pt x="129" y="655"/>
                  </a:cubicBezTo>
                  <a:cubicBezTo>
                    <a:pt x="129" y="658"/>
                    <a:pt x="131" y="661"/>
                    <a:pt x="133" y="662"/>
                  </a:cubicBezTo>
                  <a:cubicBezTo>
                    <a:pt x="136" y="668"/>
                    <a:pt x="139" y="675"/>
                    <a:pt x="143" y="682"/>
                  </a:cubicBezTo>
                  <a:cubicBezTo>
                    <a:pt x="119" y="661"/>
                    <a:pt x="98" y="637"/>
                    <a:pt x="79" y="610"/>
                  </a:cubicBezTo>
                  <a:close/>
                  <a:moveTo>
                    <a:pt x="70" y="196"/>
                  </a:moveTo>
                  <a:cubicBezTo>
                    <a:pt x="90" y="190"/>
                    <a:pt x="105" y="184"/>
                    <a:pt x="117" y="177"/>
                  </a:cubicBezTo>
                  <a:cubicBezTo>
                    <a:pt x="124" y="172"/>
                    <a:pt x="133" y="168"/>
                    <a:pt x="142" y="164"/>
                  </a:cubicBezTo>
                  <a:cubicBezTo>
                    <a:pt x="155" y="158"/>
                    <a:pt x="168" y="152"/>
                    <a:pt x="180" y="144"/>
                  </a:cubicBezTo>
                  <a:cubicBezTo>
                    <a:pt x="181" y="144"/>
                    <a:pt x="181" y="144"/>
                    <a:pt x="182" y="144"/>
                  </a:cubicBezTo>
                  <a:cubicBezTo>
                    <a:pt x="240" y="144"/>
                    <a:pt x="240" y="144"/>
                    <a:pt x="240" y="144"/>
                  </a:cubicBezTo>
                  <a:cubicBezTo>
                    <a:pt x="225" y="178"/>
                    <a:pt x="214" y="218"/>
                    <a:pt x="206" y="259"/>
                  </a:cubicBezTo>
                  <a:cubicBezTo>
                    <a:pt x="39" y="259"/>
                    <a:pt x="39" y="259"/>
                    <a:pt x="39" y="259"/>
                  </a:cubicBezTo>
                  <a:cubicBezTo>
                    <a:pt x="47" y="237"/>
                    <a:pt x="58" y="216"/>
                    <a:pt x="70" y="196"/>
                  </a:cubicBezTo>
                  <a:close/>
                  <a:moveTo>
                    <a:pt x="101" y="154"/>
                  </a:moveTo>
                  <a:cubicBezTo>
                    <a:pt x="101" y="154"/>
                    <a:pt x="101" y="153"/>
                    <a:pt x="101" y="153"/>
                  </a:cubicBezTo>
                  <a:cubicBezTo>
                    <a:pt x="105" y="149"/>
                    <a:pt x="109" y="144"/>
                    <a:pt x="112" y="140"/>
                  </a:cubicBezTo>
                  <a:cubicBezTo>
                    <a:pt x="113" y="140"/>
                    <a:pt x="113" y="139"/>
                    <a:pt x="114" y="139"/>
                  </a:cubicBezTo>
                  <a:cubicBezTo>
                    <a:pt x="117" y="135"/>
                    <a:pt x="121" y="130"/>
                    <a:pt x="125" y="126"/>
                  </a:cubicBezTo>
                  <a:cubicBezTo>
                    <a:pt x="126" y="126"/>
                    <a:pt x="126" y="126"/>
                    <a:pt x="126" y="126"/>
                  </a:cubicBezTo>
                  <a:cubicBezTo>
                    <a:pt x="141" y="111"/>
                    <a:pt x="157" y="97"/>
                    <a:pt x="174" y="85"/>
                  </a:cubicBezTo>
                  <a:cubicBezTo>
                    <a:pt x="174" y="85"/>
                    <a:pt x="174" y="85"/>
                    <a:pt x="175" y="85"/>
                  </a:cubicBezTo>
                  <a:cubicBezTo>
                    <a:pt x="179" y="81"/>
                    <a:pt x="184" y="78"/>
                    <a:pt x="189" y="75"/>
                  </a:cubicBezTo>
                  <a:cubicBezTo>
                    <a:pt x="189" y="75"/>
                    <a:pt x="190" y="74"/>
                    <a:pt x="190" y="74"/>
                  </a:cubicBezTo>
                  <a:cubicBezTo>
                    <a:pt x="193" y="72"/>
                    <a:pt x="196" y="71"/>
                    <a:pt x="198" y="69"/>
                  </a:cubicBezTo>
                  <a:cubicBezTo>
                    <a:pt x="203" y="73"/>
                    <a:pt x="206" y="77"/>
                    <a:pt x="208" y="81"/>
                  </a:cubicBezTo>
                  <a:cubicBezTo>
                    <a:pt x="209" y="87"/>
                    <a:pt x="207" y="94"/>
                    <a:pt x="201" y="103"/>
                  </a:cubicBezTo>
                  <a:cubicBezTo>
                    <a:pt x="183" y="130"/>
                    <a:pt x="159" y="141"/>
                    <a:pt x="137" y="151"/>
                  </a:cubicBezTo>
                  <a:cubicBezTo>
                    <a:pt x="127" y="155"/>
                    <a:pt x="118" y="160"/>
                    <a:pt x="109" y="165"/>
                  </a:cubicBezTo>
                  <a:cubicBezTo>
                    <a:pt x="103" y="169"/>
                    <a:pt x="93" y="173"/>
                    <a:pt x="83" y="177"/>
                  </a:cubicBezTo>
                  <a:cubicBezTo>
                    <a:pt x="88" y="169"/>
                    <a:pt x="94" y="161"/>
                    <a:pt x="101" y="154"/>
                  </a:cubicBezTo>
                  <a:close/>
                  <a:moveTo>
                    <a:pt x="229" y="52"/>
                  </a:moveTo>
                  <a:cubicBezTo>
                    <a:pt x="244" y="59"/>
                    <a:pt x="249" y="64"/>
                    <a:pt x="249" y="66"/>
                  </a:cubicBezTo>
                  <a:cubicBezTo>
                    <a:pt x="249" y="66"/>
                    <a:pt x="249" y="67"/>
                    <a:pt x="248" y="68"/>
                  </a:cubicBezTo>
                  <a:cubicBezTo>
                    <a:pt x="236" y="77"/>
                    <a:pt x="215" y="101"/>
                    <a:pt x="220" y="116"/>
                  </a:cubicBezTo>
                  <a:cubicBezTo>
                    <a:pt x="221" y="119"/>
                    <a:pt x="224" y="125"/>
                    <a:pt x="234" y="125"/>
                  </a:cubicBezTo>
                  <a:cubicBezTo>
                    <a:pt x="234" y="125"/>
                    <a:pt x="234" y="125"/>
                    <a:pt x="234" y="125"/>
                  </a:cubicBezTo>
                  <a:cubicBezTo>
                    <a:pt x="235" y="125"/>
                    <a:pt x="235" y="125"/>
                    <a:pt x="236" y="125"/>
                  </a:cubicBezTo>
                  <a:cubicBezTo>
                    <a:pt x="241" y="125"/>
                    <a:pt x="245" y="124"/>
                    <a:pt x="250" y="122"/>
                  </a:cubicBezTo>
                  <a:cubicBezTo>
                    <a:pt x="248" y="125"/>
                    <a:pt x="247" y="127"/>
                    <a:pt x="246" y="130"/>
                  </a:cubicBezTo>
                  <a:cubicBezTo>
                    <a:pt x="197" y="130"/>
                    <a:pt x="197" y="130"/>
                    <a:pt x="197" y="130"/>
                  </a:cubicBezTo>
                  <a:cubicBezTo>
                    <a:pt x="202" y="124"/>
                    <a:pt x="208" y="118"/>
                    <a:pt x="213" y="111"/>
                  </a:cubicBezTo>
                  <a:cubicBezTo>
                    <a:pt x="221" y="99"/>
                    <a:pt x="224" y="87"/>
                    <a:pt x="221" y="77"/>
                  </a:cubicBezTo>
                  <a:cubicBezTo>
                    <a:pt x="220" y="72"/>
                    <a:pt x="216" y="66"/>
                    <a:pt x="211" y="62"/>
                  </a:cubicBezTo>
                  <a:cubicBezTo>
                    <a:pt x="217" y="58"/>
                    <a:pt x="223" y="55"/>
                    <a:pt x="229" y="52"/>
                  </a:cubicBezTo>
                  <a:close/>
                  <a:moveTo>
                    <a:pt x="395" y="14"/>
                  </a:moveTo>
                  <a:cubicBezTo>
                    <a:pt x="400" y="14"/>
                    <a:pt x="405" y="14"/>
                    <a:pt x="410" y="15"/>
                  </a:cubicBezTo>
                  <a:cubicBezTo>
                    <a:pt x="411" y="15"/>
                    <a:pt x="412" y="15"/>
                    <a:pt x="412" y="15"/>
                  </a:cubicBezTo>
                  <a:cubicBezTo>
                    <a:pt x="417" y="15"/>
                    <a:pt x="422" y="15"/>
                    <a:pt x="427" y="16"/>
                  </a:cubicBezTo>
                  <a:cubicBezTo>
                    <a:pt x="427" y="16"/>
                    <a:pt x="428" y="16"/>
                    <a:pt x="429" y="16"/>
                  </a:cubicBezTo>
                  <a:cubicBezTo>
                    <a:pt x="433" y="16"/>
                    <a:pt x="438" y="17"/>
                    <a:pt x="443" y="17"/>
                  </a:cubicBezTo>
                  <a:cubicBezTo>
                    <a:pt x="443" y="17"/>
                    <a:pt x="443" y="17"/>
                    <a:pt x="443" y="17"/>
                  </a:cubicBezTo>
                  <a:cubicBezTo>
                    <a:pt x="448" y="18"/>
                    <a:pt x="453" y="19"/>
                    <a:pt x="457" y="19"/>
                  </a:cubicBezTo>
                  <a:cubicBezTo>
                    <a:pt x="458" y="19"/>
                    <a:pt x="459" y="20"/>
                    <a:pt x="459" y="20"/>
                  </a:cubicBezTo>
                  <a:cubicBezTo>
                    <a:pt x="459" y="20"/>
                    <a:pt x="459" y="20"/>
                    <a:pt x="459" y="21"/>
                  </a:cubicBezTo>
                  <a:cubicBezTo>
                    <a:pt x="455" y="27"/>
                    <a:pt x="445" y="32"/>
                    <a:pt x="436" y="35"/>
                  </a:cubicBezTo>
                  <a:cubicBezTo>
                    <a:pt x="427" y="37"/>
                    <a:pt x="412" y="41"/>
                    <a:pt x="391" y="54"/>
                  </a:cubicBezTo>
                  <a:cubicBezTo>
                    <a:pt x="391" y="54"/>
                    <a:pt x="391" y="54"/>
                    <a:pt x="391" y="54"/>
                  </a:cubicBezTo>
                  <a:cubicBezTo>
                    <a:pt x="386" y="57"/>
                    <a:pt x="381" y="61"/>
                    <a:pt x="376" y="65"/>
                  </a:cubicBezTo>
                  <a:cubicBezTo>
                    <a:pt x="358" y="78"/>
                    <a:pt x="340" y="81"/>
                    <a:pt x="320" y="83"/>
                  </a:cubicBezTo>
                  <a:cubicBezTo>
                    <a:pt x="314" y="84"/>
                    <a:pt x="307" y="85"/>
                    <a:pt x="300" y="86"/>
                  </a:cubicBezTo>
                  <a:cubicBezTo>
                    <a:pt x="288" y="89"/>
                    <a:pt x="277" y="94"/>
                    <a:pt x="266" y="100"/>
                  </a:cubicBezTo>
                  <a:cubicBezTo>
                    <a:pt x="265" y="100"/>
                    <a:pt x="263" y="101"/>
                    <a:pt x="261" y="102"/>
                  </a:cubicBezTo>
                  <a:cubicBezTo>
                    <a:pt x="261" y="102"/>
                    <a:pt x="261" y="102"/>
                    <a:pt x="261" y="102"/>
                  </a:cubicBezTo>
                  <a:cubicBezTo>
                    <a:pt x="252" y="106"/>
                    <a:pt x="244" y="110"/>
                    <a:pt x="235" y="111"/>
                  </a:cubicBezTo>
                  <a:cubicBezTo>
                    <a:pt x="235" y="111"/>
                    <a:pt x="234" y="111"/>
                    <a:pt x="234" y="111"/>
                  </a:cubicBezTo>
                  <a:cubicBezTo>
                    <a:pt x="234" y="111"/>
                    <a:pt x="234" y="111"/>
                    <a:pt x="234" y="111"/>
                  </a:cubicBezTo>
                  <a:cubicBezTo>
                    <a:pt x="234" y="111"/>
                    <a:pt x="233" y="111"/>
                    <a:pt x="233" y="111"/>
                  </a:cubicBezTo>
                  <a:cubicBezTo>
                    <a:pt x="233" y="106"/>
                    <a:pt x="243" y="89"/>
                    <a:pt x="256" y="79"/>
                  </a:cubicBezTo>
                  <a:cubicBezTo>
                    <a:pt x="263" y="74"/>
                    <a:pt x="263" y="68"/>
                    <a:pt x="263" y="64"/>
                  </a:cubicBezTo>
                  <a:cubicBezTo>
                    <a:pt x="263" y="62"/>
                    <a:pt x="262" y="54"/>
                    <a:pt x="246" y="45"/>
                  </a:cubicBezTo>
                  <a:cubicBezTo>
                    <a:pt x="292" y="25"/>
                    <a:pt x="342" y="14"/>
                    <a:pt x="395" y="14"/>
                  </a:cubicBezTo>
                  <a:close/>
                  <a:moveTo>
                    <a:pt x="757" y="519"/>
                  </a:moveTo>
                  <a:cubicBezTo>
                    <a:pt x="583" y="519"/>
                    <a:pt x="583" y="519"/>
                    <a:pt x="583" y="519"/>
                  </a:cubicBezTo>
                  <a:cubicBezTo>
                    <a:pt x="586" y="510"/>
                    <a:pt x="590" y="502"/>
                    <a:pt x="596" y="495"/>
                  </a:cubicBezTo>
                  <a:cubicBezTo>
                    <a:pt x="611" y="476"/>
                    <a:pt x="637" y="413"/>
                    <a:pt x="632" y="403"/>
                  </a:cubicBezTo>
                  <a:cubicBezTo>
                    <a:pt x="632" y="403"/>
                    <a:pt x="632" y="403"/>
                    <a:pt x="632" y="403"/>
                  </a:cubicBezTo>
                  <a:cubicBezTo>
                    <a:pt x="777" y="403"/>
                    <a:pt x="777" y="403"/>
                    <a:pt x="777" y="403"/>
                  </a:cubicBezTo>
                  <a:cubicBezTo>
                    <a:pt x="776" y="443"/>
                    <a:pt x="769" y="482"/>
                    <a:pt x="757" y="519"/>
                  </a:cubicBezTo>
                  <a:close/>
                  <a:moveTo>
                    <a:pt x="652" y="328"/>
                  </a:moveTo>
                  <a:cubicBezTo>
                    <a:pt x="652" y="321"/>
                    <a:pt x="660" y="316"/>
                    <a:pt x="665" y="314"/>
                  </a:cubicBezTo>
                  <a:cubicBezTo>
                    <a:pt x="673" y="332"/>
                    <a:pt x="692" y="376"/>
                    <a:pt x="707" y="389"/>
                  </a:cubicBezTo>
                  <a:cubicBezTo>
                    <a:pt x="621" y="389"/>
                    <a:pt x="621" y="389"/>
                    <a:pt x="621" y="389"/>
                  </a:cubicBezTo>
                  <a:cubicBezTo>
                    <a:pt x="636" y="369"/>
                    <a:pt x="654" y="342"/>
                    <a:pt x="652" y="328"/>
                  </a:cubicBezTo>
                  <a:close/>
                  <a:moveTo>
                    <a:pt x="730" y="389"/>
                  </a:moveTo>
                  <a:cubicBezTo>
                    <a:pt x="735" y="382"/>
                    <a:pt x="734" y="369"/>
                    <a:pt x="733" y="365"/>
                  </a:cubicBezTo>
                  <a:cubicBezTo>
                    <a:pt x="727" y="329"/>
                    <a:pt x="724" y="286"/>
                    <a:pt x="729" y="278"/>
                  </a:cubicBezTo>
                  <a:cubicBezTo>
                    <a:pt x="730" y="276"/>
                    <a:pt x="731" y="275"/>
                    <a:pt x="732" y="273"/>
                  </a:cubicBezTo>
                  <a:cubicBezTo>
                    <a:pt x="757" y="273"/>
                    <a:pt x="757" y="273"/>
                    <a:pt x="757" y="273"/>
                  </a:cubicBezTo>
                  <a:cubicBezTo>
                    <a:pt x="769" y="310"/>
                    <a:pt x="776" y="349"/>
                    <a:pt x="777" y="389"/>
                  </a:cubicBezTo>
                  <a:lnTo>
                    <a:pt x="730" y="389"/>
                  </a:lnTo>
                  <a:close/>
                  <a:moveTo>
                    <a:pt x="752" y="259"/>
                  </a:moveTo>
                  <a:cubicBezTo>
                    <a:pt x="742" y="259"/>
                    <a:pt x="742" y="259"/>
                    <a:pt x="742" y="259"/>
                  </a:cubicBezTo>
                  <a:cubicBezTo>
                    <a:pt x="744" y="257"/>
                    <a:pt x="746" y="254"/>
                    <a:pt x="749" y="252"/>
                  </a:cubicBezTo>
                  <a:cubicBezTo>
                    <a:pt x="750" y="254"/>
                    <a:pt x="751" y="257"/>
                    <a:pt x="752" y="259"/>
                  </a:cubicBezTo>
                  <a:close/>
                  <a:moveTo>
                    <a:pt x="742" y="237"/>
                  </a:moveTo>
                  <a:cubicBezTo>
                    <a:pt x="736" y="244"/>
                    <a:pt x="730" y="252"/>
                    <a:pt x="725" y="259"/>
                  </a:cubicBezTo>
                  <a:cubicBezTo>
                    <a:pt x="723" y="259"/>
                    <a:pt x="723" y="259"/>
                    <a:pt x="723" y="259"/>
                  </a:cubicBezTo>
                  <a:cubicBezTo>
                    <a:pt x="719" y="259"/>
                    <a:pt x="716" y="263"/>
                    <a:pt x="716" y="266"/>
                  </a:cubicBezTo>
                  <a:cubicBezTo>
                    <a:pt x="716" y="268"/>
                    <a:pt x="716" y="269"/>
                    <a:pt x="717" y="270"/>
                  </a:cubicBezTo>
                  <a:cubicBezTo>
                    <a:pt x="706" y="287"/>
                    <a:pt x="717" y="354"/>
                    <a:pt x="719" y="367"/>
                  </a:cubicBezTo>
                  <a:cubicBezTo>
                    <a:pt x="720" y="372"/>
                    <a:pt x="720" y="378"/>
                    <a:pt x="719" y="380"/>
                  </a:cubicBezTo>
                  <a:cubicBezTo>
                    <a:pt x="719" y="380"/>
                    <a:pt x="718" y="380"/>
                    <a:pt x="718" y="379"/>
                  </a:cubicBezTo>
                  <a:cubicBezTo>
                    <a:pt x="708" y="373"/>
                    <a:pt x="687" y="331"/>
                    <a:pt x="676" y="302"/>
                  </a:cubicBezTo>
                  <a:cubicBezTo>
                    <a:pt x="674" y="299"/>
                    <a:pt x="671" y="297"/>
                    <a:pt x="667" y="298"/>
                  </a:cubicBezTo>
                  <a:cubicBezTo>
                    <a:pt x="659" y="300"/>
                    <a:pt x="647" y="306"/>
                    <a:pt x="642" y="315"/>
                  </a:cubicBezTo>
                  <a:cubicBezTo>
                    <a:pt x="629" y="320"/>
                    <a:pt x="629" y="320"/>
                    <a:pt x="629" y="320"/>
                  </a:cubicBezTo>
                  <a:cubicBezTo>
                    <a:pt x="584" y="300"/>
                    <a:pt x="584" y="300"/>
                    <a:pt x="584" y="300"/>
                  </a:cubicBezTo>
                  <a:cubicBezTo>
                    <a:pt x="581" y="299"/>
                    <a:pt x="577" y="300"/>
                    <a:pt x="575" y="304"/>
                  </a:cubicBezTo>
                  <a:cubicBezTo>
                    <a:pt x="573" y="307"/>
                    <a:pt x="575" y="312"/>
                    <a:pt x="579" y="313"/>
                  </a:cubicBezTo>
                  <a:cubicBezTo>
                    <a:pt x="626" y="334"/>
                    <a:pt x="626" y="334"/>
                    <a:pt x="626" y="334"/>
                  </a:cubicBezTo>
                  <a:cubicBezTo>
                    <a:pt x="627" y="334"/>
                    <a:pt x="628" y="334"/>
                    <a:pt x="629" y="334"/>
                  </a:cubicBezTo>
                  <a:cubicBezTo>
                    <a:pt x="630" y="334"/>
                    <a:pt x="630" y="334"/>
                    <a:pt x="631" y="334"/>
                  </a:cubicBezTo>
                  <a:cubicBezTo>
                    <a:pt x="638" y="331"/>
                    <a:pt x="638" y="331"/>
                    <a:pt x="638" y="331"/>
                  </a:cubicBezTo>
                  <a:cubicBezTo>
                    <a:pt x="637" y="342"/>
                    <a:pt x="619" y="368"/>
                    <a:pt x="602" y="392"/>
                  </a:cubicBezTo>
                  <a:cubicBezTo>
                    <a:pt x="602" y="392"/>
                    <a:pt x="602" y="392"/>
                    <a:pt x="601" y="392"/>
                  </a:cubicBezTo>
                  <a:cubicBezTo>
                    <a:pt x="600" y="394"/>
                    <a:pt x="598" y="397"/>
                    <a:pt x="596" y="399"/>
                  </a:cubicBezTo>
                  <a:cubicBezTo>
                    <a:pt x="595" y="400"/>
                    <a:pt x="594" y="402"/>
                    <a:pt x="595" y="404"/>
                  </a:cubicBezTo>
                  <a:cubicBezTo>
                    <a:pt x="592" y="405"/>
                    <a:pt x="589" y="405"/>
                    <a:pt x="587" y="403"/>
                  </a:cubicBezTo>
                  <a:cubicBezTo>
                    <a:pt x="579" y="394"/>
                    <a:pt x="528" y="328"/>
                    <a:pt x="528" y="328"/>
                  </a:cubicBezTo>
                  <a:cubicBezTo>
                    <a:pt x="526" y="325"/>
                    <a:pt x="521" y="324"/>
                    <a:pt x="518" y="327"/>
                  </a:cubicBezTo>
                  <a:cubicBezTo>
                    <a:pt x="515" y="329"/>
                    <a:pt x="515" y="333"/>
                    <a:pt x="517" y="336"/>
                  </a:cubicBezTo>
                  <a:cubicBezTo>
                    <a:pt x="519" y="339"/>
                    <a:pt x="568" y="402"/>
                    <a:pt x="577" y="412"/>
                  </a:cubicBezTo>
                  <a:cubicBezTo>
                    <a:pt x="581" y="417"/>
                    <a:pt x="586" y="419"/>
                    <a:pt x="591" y="419"/>
                  </a:cubicBezTo>
                  <a:cubicBezTo>
                    <a:pt x="597" y="419"/>
                    <a:pt x="604" y="416"/>
                    <a:pt x="610" y="412"/>
                  </a:cubicBezTo>
                  <a:cubicBezTo>
                    <a:pt x="612" y="413"/>
                    <a:pt x="615" y="413"/>
                    <a:pt x="618" y="414"/>
                  </a:cubicBezTo>
                  <a:cubicBezTo>
                    <a:pt x="613" y="430"/>
                    <a:pt x="599" y="468"/>
                    <a:pt x="585" y="486"/>
                  </a:cubicBezTo>
                  <a:cubicBezTo>
                    <a:pt x="564" y="513"/>
                    <a:pt x="558" y="546"/>
                    <a:pt x="568" y="568"/>
                  </a:cubicBezTo>
                  <a:cubicBezTo>
                    <a:pt x="569" y="570"/>
                    <a:pt x="569" y="571"/>
                    <a:pt x="569" y="573"/>
                  </a:cubicBezTo>
                  <a:cubicBezTo>
                    <a:pt x="566" y="580"/>
                    <a:pt x="554" y="586"/>
                    <a:pt x="548" y="588"/>
                  </a:cubicBezTo>
                  <a:cubicBezTo>
                    <a:pt x="546" y="589"/>
                    <a:pt x="545" y="590"/>
                    <a:pt x="544" y="591"/>
                  </a:cubicBezTo>
                  <a:cubicBezTo>
                    <a:pt x="540" y="598"/>
                    <a:pt x="526" y="620"/>
                    <a:pt x="525" y="631"/>
                  </a:cubicBezTo>
                  <a:cubicBezTo>
                    <a:pt x="520" y="639"/>
                    <a:pt x="472" y="672"/>
                    <a:pt x="454" y="677"/>
                  </a:cubicBezTo>
                  <a:cubicBezTo>
                    <a:pt x="444" y="680"/>
                    <a:pt x="441" y="675"/>
                    <a:pt x="432" y="657"/>
                  </a:cubicBezTo>
                  <a:cubicBezTo>
                    <a:pt x="430" y="654"/>
                    <a:pt x="429" y="650"/>
                    <a:pt x="427" y="647"/>
                  </a:cubicBezTo>
                  <a:cubicBezTo>
                    <a:pt x="413" y="621"/>
                    <a:pt x="409" y="599"/>
                    <a:pt x="416" y="589"/>
                  </a:cubicBezTo>
                  <a:cubicBezTo>
                    <a:pt x="428" y="574"/>
                    <a:pt x="414" y="558"/>
                    <a:pt x="403" y="546"/>
                  </a:cubicBezTo>
                  <a:cubicBezTo>
                    <a:pt x="400" y="542"/>
                    <a:pt x="397" y="539"/>
                    <a:pt x="395" y="536"/>
                  </a:cubicBezTo>
                  <a:cubicBezTo>
                    <a:pt x="392" y="532"/>
                    <a:pt x="392" y="529"/>
                    <a:pt x="394" y="522"/>
                  </a:cubicBezTo>
                  <a:cubicBezTo>
                    <a:pt x="395" y="513"/>
                    <a:pt x="397" y="501"/>
                    <a:pt x="391" y="481"/>
                  </a:cubicBezTo>
                  <a:cubicBezTo>
                    <a:pt x="384" y="461"/>
                    <a:pt x="366" y="459"/>
                    <a:pt x="351" y="459"/>
                  </a:cubicBezTo>
                  <a:cubicBezTo>
                    <a:pt x="342" y="459"/>
                    <a:pt x="333" y="459"/>
                    <a:pt x="323" y="460"/>
                  </a:cubicBezTo>
                  <a:cubicBezTo>
                    <a:pt x="312" y="461"/>
                    <a:pt x="299" y="463"/>
                    <a:pt x="285" y="463"/>
                  </a:cubicBezTo>
                  <a:cubicBezTo>
                    <a:pt x="280" y="463"/>
                    <a:pt x="276" y="463"/>
                    <a:pt x="271" y="462"/>
                  </a:cubicBezTo>
                  <a:cubicBezTo>
                    <a:pt x="262" y="462"/>
                    <a:pt x="255" y="458"/>
                    <a:pt x="250" y="451"/>
                  </a:cubicBezTo>
                  <a:cubicBezTo>
                    <a:pt x="237" y="433"/>
                    <a:pt x="238" y="393"/>
                    <a:pt x="252" y="342"/>
                  </a:cubicBezTo>
                  <a:cubicBezTo>
                    <a:pt x="259" y="318"/>
                    <a:pt x="297" y="295"/>
                    <a:pt x="312" y="288"/>
                  </a:cubicBezTo>
                  <a:cubicBezTo>
                    <a:pt x="313" y="288"/>
                    <a:pt x="314" y="287"/>
                    <a:pt x="315" y="285"/>
                  </a:cubicBezTo>
                  <a:cubicBezTo>
                    <a:pt x="319" y="278"/>
                    <a:pt x="318" y="272"/>
                    <a:pt x="316" y="269"/>
                  </a:cubicBezTo>
                  <a:cubicBezTo>
                    <a:pt x="313" y="262"/>
                    <a:pt x="308" y="259"/>
                    <a:pt x="303" y="257"/>
                  </a:cubicBezTo>
                  <a:cubicBezTo>
                    <a:pt x="303" y="251"/>
                    <a:pt x="305" y="242"/>
                    <a:pt x="310" y="240"/>
                  </a:cubicBezTo>
                  <a:cubicBezTo>
                    <a:pt x="315" y="238"/>
                    <a:pt x="322" y="237"/>
                    <a:pt x="327" y="237"/>
                  </a:cubicBezTo>
                  <a:cubicBezTo>
                    <a:pt x="336" y="236"/>
                    <a:pt x="342" y="236"/>
                    <a:pt x="345" y="231"/>
                  </a:cubicBezTo>
                  <a:cubicBezTo>
                    <a:pt x="346" y="229"/>
                    <a:pt x="347" y="225"/>
                    <a:pt x="344" y="221"/>
                  </a:cubicBezTo>
                  <a:cubicBezTo>
                    <a:pt x="344" y="220"/>
                    <a:pt x="343" y="216"/>
                    <a:pt x="346" y="212"/>
                  </a:cubicBezTo>
                  <a:cubicBezTo>
                    <a:pt x="348" y="208"/>
                    <a:pt x="352" y="206"/>
                    <a:pt x="356" y="207"/>
                  </a:cubicBezTo>
                  <a:cubicBezTo>
                    <a:pt x="358" y="207"/>
                    <a:pt x="359" y="207"/>
                    <a:pt x="361" y="207"/>
                  </a:cubicBezTo>
                  <a:cubicBezTo>
                    <a:pt x="376" y="207"/>
                    <a:pt x="385" y="194"/>
                    <a:pt x="388" y="188"/>
                  </a:cubicBezTo>
                  <a:cubicBezTo>
                    <a:pt x="395" y="186"/>
                    <a:pt x="412" y="179"/>
                    <a:pt x="426" y="179"/>
                  </a:cubicBezTo>
                  <a:cubicBezTo>
                    <a:pt x="429" y="179"/>
                    <a:pt x="432" y="179"/>
                    <a:pt x="434" y="180"/>
                  </a:cubicBezTo>
                  <a:cubicBezTo>
                    <a:pt x="441" y="181"/>
                    <a:pt x="446" y="180"/>
                    <a:pt x="448" y="175"/>
                  </a:cubicBezTo>
                  <a:cubicBezTo>
                    <a:pt x="452" y="167"/>
                    <a:pt x="445" y="150"/>
                    <a:pt x="426" y="125"/>
                  </a:cubicBezTo>
                  <a:cubicBezTo>
                    <a:pt x="425" y="123"/>
                    <a:pt x="422" y="122"/>
                    <a:pt x="419" y="122"/>
                  </a:cubicBezTo>
                  <a:cubicBezTo>
                    <a:pt x="416" y="123"/>
                    <a:pt x="414" y="125"/>
                    <a:pt x="414" y="128"/>
                  </a:cubicBezTo>
                  <a:cubicBezTo>
                    <a:pt x="410" y="159"/>
                    <a:pt x="410" y="159"/>
                    <a:pt x="410" y="159"/>
                  </a:cubicBezTo>
                  <a:cubicBezTo>
                    <a:pt x="400" y="155"/>
                    <a:pt x="385" y="149"/>
                    <a:pt x="381" y="139"/>
                  </a:cubicBezTo>
                  <a:cubicBezTo>
                    <a:pt x="379" y="135"/>
                    <a:pt x="381" y="129"/>
                    <a:pt x="386" y="121"/>
                  </a:cubicBezTo>
                  <a:cubicBezTo>
                    <a:pt x="390" y="115"/>
                    <a:pt x="394" y="110"/>
                    <a:pt x="399" y="105"/>
                  </a:cubicBezTo>
                  <a:cubicBezTo>
                    <a:pt x="400" y="105"/>
                    <a:pt x="400" y="105"/>
                    <a:pt x="400" y="104"/>
                  </a:cubicBezTo>
                  <a:cubicBezTo>
                    <a:pt x="412" y="94"/>
                    <a:pt x="425" y="87"/>
                    <a:pt x="431" y="87"/>
                  </a:cubicBezTo>
                  <a:cubicBezTo>
                    <a:pt x="431" y="87"/>
                    <a:pt x="431" y="87"/>
                    <a:pt x="431" y="87"/>
                  </a:cubicBezTo>
                  <a:cubicBezTo>
                    <a:pt x="435" y="87"/>
                    <a:pt x="440" y="90"/>
                    <a:pt x="445" y="92"/>
                  </a:cubicBezTo>
                  <a:cubicBezTo>
                    <a:pt x="451" y="95"/>
                    <a:pt x="458" y="99"/>
                    <a:pt x="466" y="99"/>
                  </a:cubicBezTo>
                  <a:cubicBezTo>
                    <a:pt x="475" y="99"/>
                    <a:pt x="483" y="94"/>
                    <a:pt x="490" y="85"/>
                  </a:cubicBezTo>
                  <a:cubicBezTo>
                    <a:pt x="505" y="66"/>
                    <a:pt x="497" y="42"/>
                    <a:pt x="490" y="26"/>
                  </a:cubicBezTo>
                  <a:cubicBezTo>
                    <a:pt x="602" y="55"/>
                    <a:pt x="695" y="134"/>
                    <a:pt x="742" y="237"/>
                  </a:cubicBezTo>
                  <a:close/>
                  <a:moveTo>
                    <a:pt x="119" y="480"/>
                  </a:moveTo>
                  <a:cubicBezTo>
                    <a:pt x="109" y="475"/>
                    <a:pt x="95" y="468"/>
                    <a:pt x="79" y="444"/>
                  </a:cubicBezTo>
                  <a:cubicBezTo>
                    <a:pt x="73" y="435"/>
                    <a:pt x="67" y="421"/>
                    <a:pt x="61" y="403"/>
                  </a:cubicBezTo>
                  <a:cubicBezTo>
                    <a:pt x="194" y="403"/>
                    <a:pt x="194" y="403"/>
                    <a:pt x="194" y="403"/>
                  </a:cubicBezTo>
                  <a:cubicBezTo>
                    <a:pt x="194" y="443"/>
                    <a:pt x="198" y="482"/>
                    <a:pt x="204" y="519"/>
                  </a:cubicBezTo>
                  <a:cubicBezTo>
                    <a:pt x="137" y="519"/>
                    <a:pt x="137" y="519"/>
                    <a:pt x="137" y="519"/>
                  </a:cubicBezTo>
                  <a:cubicBezTo>
                    <a:pt x="138" y="516"/>
                    <a:pt x="138" y="513"/>
                    <a:pt x="138" y="510"/>
                  </a:cubicBezTo>
                  <a:cubicBezTo>
                    <a:pt x="139" y="490"/>
                    <a:pt x="129" y="485"/>
                    <a:pt x="119" y="480"/>
                  </a:cubicBezTo>
                  <a:close/>
                  <a:moveTo>
                    <a:pt x="273" y="112"/>
                  </a:moveTo>
                  <a:cubicBezTo>
                    <a:pt x="282" y="107"/>
                    <a:pt x="292" y="102"/>
                    <a:pt x="303" y="100"/>
                  </a:cubicBezTo>
                  <a:cubicBezTo>
                    <a:pt x="309" y="99"/>
                    <a:pt x="316" y="98"/>
                    <a:pt x="322" y="97"/>
                  </a:cubicBezTo>
                  <a:cubicBezTo>
                    <a:pt x="341" y="94"/>
                    <a:pt x="363" y="92"/>
                    <a:pt x="384" y="76"/>
                  </a:cubicBezTo>
                  <a:cubicBezTo>
                    <a:pt x="386" y="75"/>
                    <a:pt x="387" y="74"/>
                    <a:pt x="388" y="73"/>
                  </a:cubicBezTo>
                  <a:cubicBezTo>
                    <a:pt x="388" y="97"/>
                    <a:pt x="388" y="97"/>
                    <a:pt x="388" y="97"/>
                  </a:cubicBezTo>
                  <a:cubicBezTo>
                    <a:pt x="383" y="102"/>
                    <a:pt x="378" y="108"/>
                    <a:pt x="374" y="113"/>
                  </a:cubicBezTo>
                  <a:cubicBezTo>
                    <a:pt x="370" y="120"/>
                    <a:pt x="368" y="125"/>
                    <a:pt x="367" y="130"/>
                  </a:cubicBezTo>
                  <a:cubicBezTo>
                    <a:pt x="342" y="130"/>
                    <a:pt x="342" y="130"/>
                    <a:pt x="342" y="130"/>
                  </a:cubicBezTo>
                  <a:cubicBezTo>
                    <a:pt x="343" y="127"/>
                    <a:pt x="344" y="124"/>
                    <a:pt x="343" y="120"/>
                  </a:cubicBezTo>
                  <a:cubicBezTo>
                    <a:pt x="341" y="112"/>
                    <a:pt x="334" y="107"/>
                    <a:pt x="325" y="107"/>
                  </a:cubicBezTo>
                  <a:cubicBezTo>
                    <a:pt x="318" y="107"/>
                    <a:pt x="310" y="110"/>
                    <a:pt x="305" y="115"/>
                  </a:cubicBezTo>
                  <a:cubicBezTo>
                    <a:pt x="302" y="118"/>
                    <a:pt x="301" y="122"/>
                    <a:pt x="302" y="125"/>
                  </a:cubicBezTo>
                  <a:cubicBezTo>
                    <a:pt x="303" y="127"/>
                    <a:pt x="304" y="129"/>
                    <a:pt x="306" y="130"/>
                  </a:cubicBezTo>
                  <a:cubicBezTo>
                    <a:pt x="261" y="130"/>
                    <a:pt x="261" y="130"/>
                    <a:pt x="261" y="130"/>
                  </a:cubicBezTo>
                  <a:cubicBezTo>
                    <a:pt x="264" y="124"/>
                    <a:pt x="267" y="119"/>
                    <a:pt x="270" y="113"/>
                  </a:cubicBezTo>
                  <a:cubicBezTo>
                    <a:pt x="271" y="113"/>
                    <a:pt x="272" y="112"/>
                    <a:pt x="273" y="112"/>
                  </a:cubicBezTo>
                  <a:close/>
                  <a:moveTo>
                    <a:pt x="440" y="48"/>
                  </a:moveTo>
                  <a:cubicBezTo>
                    <a:pt x="451" y="45"/>
                    <a:pt x="465" y="38"/>
                    <a:pt x="471" y="27"/>
                  </a:cubicBezTo>
                  <a:cubicBezTo>
                    <a:pt x="472" y="26"/>
                    <a:pt x="472" y="25"/>
                    <a:pt x="473" y="24"/>
                  </a:cubicBezTo>
                  <a:cubicBezTo>
                    <a:pt x="479" y="34"/>
                    <a:pt x="492" y="60"/>
                    <a:pt x="479" y="76"/>
                  </a:cubicBezTo>
                  <a:cubicBezTo>
                    <a:pt x="473" y="84"/>
                    <a:pt x="469" y="85"/>
                    <a:pt x="466" y="85"/>
                  </a:cubicBezTo>
                  <a:cubicBezTo>
                    <a:pt x="461" y="85"/>
                    <a:pt x="456" y="82"/>
                    <a:pt x="451" y="80"/>
                  </a:cubicBezTo>
                  <a:cubicBezTo>
                    <a:pt x="445" y="76"/>
                    <a:pt x="439" y="73"/>
                    <a:pt x="432" y="73"/>
                  </a:cubicBezTo>
                  <a:cubicBezTo>
                    <a:pt x="424" y="72"/>
                    <a:pt x="413" y="77"/>
                    <a:pt x="402" y="85"/>
                  </a:cubicBezTo>
                  <a:cubicBezTo>
                    <a:pt x="402" y="64"/>
                    <a:pt x="402" y="64"/>
                    <a:pt x="402" y="64"/>
                  </a:cubicBezTo>
                  <a:cubicBezTo>
                    <a:pt x="419" y="54"/>
                    <a:pt x="432" y="50"/>
                    <a:pt x="440" y="48"/>
                  </a:cubicBezTo>
                  <a:close/>
                  <a:moveTo>
                    <a:pt x="322" y="122"/>
                  </a:moveTo>
                  <a:cubicBezTo>
                    <a:pt x="325" y="121"/>
                    <a:pt x="327" y="121"/>
                    <a:pt x="328" y="122"/>
                  </a:cubicBezTo>
                  <a:cubicBezTo>
                    <a:pt x="328" y="122"/>
                    <a:pt x="327" y="122"/>
                    <a:pt x="327" y="122"/>
                  </a:cubicBezTo>
                  <a:cubicBezTo>
                    <a:pt x="325" y="122"/>
                    <a:pt x="324" y="122"/>
                    <a:pt x="322" y="122"/>
                  </a:cubicBezTo>
                  <a:close/>
                  <a:moveTo>
                    <a:pt x="368" y="144"/>
                  </a:moveTo>
                  <a:cubicBezTo>
                    <a:pt x="368" y="144"/>
                    <a:pt x="368" y="145"/>
                    <a:pt x="368" y="145"/>
                  </a:cubicBezTo>
                  <a:cubicBezTo>
                    <a:pt x="374" y="157"/>
                    <a:pt x="387" y="165"/>
                    <a:pt x="398" y="170"/>
                  </a:cubicBezTo>
                  <a:cubicBezTo>
                    <a:pt x="388" y="173"/>
                    <a:pt x="381" y="176"/>
                    <a:pt x="380" y="176"/>
                  </a:cubicBezTo>
                  <a:cubicBezTo>
                    <a:pt x="379" y="177"/>
                    <a:pt x="378" y="178"/>
                    <a:pt x="377" y="180"/>
                  </a:cubicBezTo>
                  <a:cubicBezTo>
                    <a:pt x="376" y="179"/>
                    <a:pt x="375" y="178"/>
                    <a:pt x="374" y="178"/>
                  </a:cubicBezTo>
                  <a:cubicBezTo>
                    <a:pt x="375" y="177"/>
                    <a:pt x="375" y="175"/>
                    <a:pt x="376" y="174"/>
                  </a:cubicBezTo>
                  <a:cubicBezTo>
                    <a:pt x="382" y="171"/>
                    <a:pt x="381" y="166"/>
                    <a:pt x="381" y="164"/>
                  </a:cubicBezTo>
                  <a:cubicBezTo>
                    <a:pt x="379" y="157"/>
                    <a:pt x="370" y="155"/>
                    <a:pt x="356" y="153"/>
                  </a:cubicBezTo>
                  <a:cubicBezTo>
                    <a:pt x="356" y="153"/>
                    <a:pt x="355" y="153"/>
                    <a:pt x="354" y="153"/>
                  </a:cubicBezTo>
                  <a:cubicBezTo>
                    <a:pt x="346" y="153"/>
                    <a:pt x="342" y="158"/>
                    <a:pt x="342" y="163"/>
                  </a:cubicBezTo>
                  <a:cubicBezTo>
                    <a:pt x="340" y="161"/>
                    <a:pt x="338" y="160"/>
                    <a:pt x="336" y="159"/>
                  </a:cubicBezTo>
                  <a:cubicBezTo>
                    <a:pt x="335" y="159"/>
                    <a:pt x="333" y="159"/>
                    <a:pt x="332" y="159"/>
                  </a:cubicBezTo>
                  <a:cubicBezTo>
                    <a:pt x="321" y="159"/>
                    <a:pt x="312" y="170"/>
                    <a:pt x="311" y="179"/>
                  </a:cubicBezTo>
                  <a:cubicBezTo>
                    <a:pt x="311" y="186"/>
                    <a:pt x="315" y="192"/>
                    <a:pt x="323" y="193"/>
                  </a:cubicBezTo>
                  <a:cubicBezTo>
                    <a:pt x="323" y="193"/>
                    <a:pt x="324" y="193"/>
                    <a:pt x="325" y="193"/>
                  </a:cubicBezTo>
                  <a:cubicBezTo>
                    <a:pt x="330" y="193"/>
                    <a:pt x="334" y="192"/>
                    <a:pt x="337" y="189"/>
                  </a:cubicBezTo>
                  <a:cubicBezTo>
                    <a:pt x="336" y="191"/>
                    <a:pt x="335" y="194"/>
                    <a:pt x="336" y="196"/>
                  </a:cubicBezTo>
                  <a:cubicBezTo>
                    <a:pt x="337" y="197"/>
                    <a:pt x="337" y="198"/>
                    <a:pt x="338" y="199"/>
                  </a:cubicBezTo>
                  <a:cubicBezTo>
                    <a:pt x="336" y="201"/>
                    <a:pt x="335" y="203"/>
                    <a:pt x="333" y="205"/>
                  </a:cubicBezTo>
                  <a:cubicBezTo>
                    <a:pt x="330" y="210"/>
                    <a:pt x="329" y="217"/>
                    <a:pt x="330" y="223"/>
                  </a:cubicBezTo>
                  <a:cubicBezTo>
                    <a:pt x="329" y="223"/>
                    <a:pt x="327" y="223"/>
                    <a:pt x="326" y="223"/>
                  </a:cubicBezTo>
                  <a:cubicBezTo>
                    <a:pt x="320" y="224"/>
                    <a:pt x="311" y="224"/>
                    <a:pt x="305" y="227"/>
                  </a:cubicBezTo>
                  <a:cubicBezTo>
                    <a:pt x="291" y="232"/>
                    <a:pt x="289" y="249"/>
                    <a:pt x="289" y="259"/>
                  </a:cubicBezTo>
                  <a:cubicBezTo>
                    <a:pt x="220" y="259"/>
                    <a:pt x="220" y="259"/>
                    <a:pt x="220" y="259"/>
                  </a:cubicBezTo>
                  <a:cubicBezTo>
                    <a:pt x="228" y="217"/>
                    <a:pt x="240" y="178"/>
                    <a:pt x="255" y="144"/>
                  </a:cubicBezTo>
                  <a:lnTo>
                    <a:pt x="368" y="144"/>
                  </a:lnTo>
                  <a:close/>
                  <a:moveTo>
                    <a:pt x="346" y="175"/>
                  </a:moveTo>
                  <a:cubicBezTo>
                    <a:pt x="346" y="175"/>
                    <a:pt x="346" y="174"/>
                    <a:pt x="346" y="174"/>
                  </a:cubicBezTo>
                  <a:cubicBezTo>
                    <a:pt x="346" y="175"/>
                    <a:pt x="347" y="176"/>
                    <a:pt x="348" y="177"/>
                  </a:cubicBezTo>
                  <a:cubicBezTo>
                    <a:pt x="348" y="177"/>
                    <a:pt x="348" y="177"/>
                    <a:pt x="348" y="177"/>
                  </a:cubicBezTo>
                  <a:cubicBezTo>
                    <a:pt x="347" y="178"/>
                    <a:pt x="345" y="180"/>
                    <a:pt x="344" y="181"/>
                  </a:cubicBezTo>
                  <a:cubicBezTo>
                    <a:pt x="345" y="179"/>
                    <a:pt x="345" y="177"/>
                    <a:pt x="346" y="175"/>
                  </a:cubicBezTo>
                  <a:close/>
                  <a:moveTo>
                    <a:pt x="363" y="169"/>
                  </a:moveTo>
                  <a:cubicBezTo>
                    <a:pt x="362" y="168"/>
                    <a:pt x="361" y="168"/>
                    <a:pt x="360" y="168"/>
                  </a:cubicBezTo>
                  <a:cubicBezTo>
                    <a:pt x="360" y="168"/>
                    <a:pt x="360" y="168"/>
                    <a:pt x="359" y="168"/>
                  </a:cubicBezTo>
                  <a:cubicBezTo>
                    <a:pt x="361" y="168"/>
                    <a:pt x="362" y="168"/>
                    <a:pt x="363" y="168"/>
                  </a:cubicBezTo>
                  <a:cubicBezTo>
                    <a:pt x="363" y="169"/>
                    <a:pt x="363" y="169"/>
                    <a:pt x="363" y="169"/>
                  </a:cubicBezTo>
                  <a:close/>
                  <a:moveTo>
                    <a:pt x="361" y="184"/>
                  </a:moveTo>
                  <a:cubicBezTo>
                    <a:pt x="362" y="185"/>
                    <a:pt x="362" y="186"/>
                    <a:pt x="363" y="187"/>
                  </a:cubicBezTo>
                  <a:cubicBezTo>
                    <a:pt x="361" y="187"/>
                    <a:pt x="360" y="187"/>
                    <a:pt x="357" y="188"/>
                  </a:cubicBezTo>
                  <a:cubicBezTo>
                    <a:pt x="359" y="187"/>
                    <a:pt x="360" y="185"/>
                    <a:pt x="361" y="184"/>
                  </a:cubicBezTo>
                  <a:close/>
                  <a:moveTo>
                    <a:pt x="332" y="173"/>
                  </a:moveTo>
                  <a:cubicBezTo>
                    <a:pt x="332" y="174"/>
                    <a:pt x="331" y="175"/>
                    <a:pt x="330" y="176"/>
                  </a:cubicBezTo>
                  <a:cubicBezTo>
                    <a:pt x="329" y="177"/>
                    <a:pt x="328" y="179"/>
                    <a:pt x="326" y="179"/>
                  </a:cubicBezTo>
                  <a:cubicBezTo>
                    <a:pt x="326" y="178"/>
                    <a:pt x="327" y="177"/>
                    <a:pt x="328" y="175"/>
                  </a:cubicBezTo>
                  <a:cubicBezTo>
                    <a:pt x="329" y="174"/>
                    <a:pt x="331" y="173"/>
                    <a:pt x="332" y="173"/>
                  </a:cubicBezTo>
                  <a:close/>
                  <a:moveTo>
                    <a:pt x="297" y="273"/>
                  </a:moveTo>
                  <a:cubicBezTo>
                    <a:pt x="298" y="273"/>
                    <a:pt x="300" y="273"/>
                    <a:pt x="301" y="272"/>
                  </a:cubicBezTo>
                  <a:cubicBezTo>
                    <a:pt x="302" y="272"/>
                    <a:pt x="303" y="273"/>
                    <a:pt x="303" y="274"/>
                  </a:cubicBezTo>
                  <a:cubicBezTo>
                    <a:pt x="303" y="275"/>
                    <a:pt x="304" y="275"/>
                    <a:pt x="303" y="277"/>
                  </a:cubicBezTo>
                  <a:cubicBezTo>
                    <a:pt x="292" y="283"/>
                    <a:pt x="247" y="307"/>
                    <a:pt x="239" y="338"/>
                  </a:cubicBezTo>
                  <a:cubicBezTo>
                    <a:pt x="234" y="354"/>
                    <a:pt x="231" y="372"/>
                    <a:pt x="229" y="389"/>
                  </a:cubicBezTo>
                  <a:cubicBezTo>
                    <a:pt x="208" y="389"/>
                    <a:pt x="208" y="389"/>
                    <a:pt x="208" y="389"/>
                  </a:cubicBezTo>
                  <a:cubicBezTo>
                    <a:pt x="208" y="349"/>
                    <a:pt x="212" y="310"/>
                    <a:pt x="218" y="273"/>
                  </a:cubicBezTo>
                  <a:lnTo>
                    <a:pt x="297" y="273"/>
                  </a:lnTo>
                  <a:close/>
                  <a:moveTo>
                    <a:pt x="208" y="403"/>
                  </a:moveTo>
                  <a:cubicBezTo>
                    <a:pt x="227" y="403"/>
                    <a:pt x="227" y="403"/>
                    <a:pt x="227" y="403"/>
                  </a:cubicBezTo>
                  <a:cubicBezTo>
                    <a:pt x="226" y="425"/>
                    <a:pt x="229" y="445"/>
                    <a:pt x="239" y="459"/>
                  </a:cubicBezTo>
                  <a:cubicBezTo>
                    <a:pt x="246" y="469"/>
                    <a:pt x="257" y="475"/>
                    <a:pt x="270" y="476"/>
                  </a:cubicBezTo>
                  <a:cubicBezTo>
                    <a:pt x="275" y="477"/>
                    <a:pt x="280" y="477"/>
                    <a:pt x="285" y="477"/>
                  </a:cubicBezTo>
                  <a:cubicBezTo>
                    <a:pt x="299" y="477"/>
                    <a:pt x="313" y="475"/>
                    <a:pt x="325" y="474"/>
                  </a:cubicBezTo>
                  <a:cubicBezTo>
                    <a:pt x="334" y="473"/>
                    <a:pt x="343" y="473"/>
                    <a:pt x="351" y="473"/>
                  </a:cubicBezTo>
                  <a:cubicBezTo>
                    <a:pt x="369" y="473"/>
                    <a:pt x="374" y="478"/>
                    <a:pt x="377" y="486"/>
                  </a:cubicBezTo>
                  <a:cubicBezTo>
                    <a:pt x="383" y="501"/>
                    <a:pt x="381" y="510"/>
                    <a:pt x="380" y="519"/>
                  </a:cubicBezTo>
                  <a:cubicBezTo>
                    <a:pt x="218" y="519"/>
                    <a:pt x="218" y="519"/>
                    <a:pt x="218" y="519"/>
                  </a:cubicBezTo>
                  <a:cubicBezTo>
                    <a:pt x="212" y="482"/>
                    <a:pt x="208" y="443"/>
                    <a:pt x="208" y="403"/>
                  </a:cubicBezTo>
                  <a:close/>
                  <a:moveTo>
                    <a:pt x="402" y="567"/>
                  </a:moveTo>
                  <a:cubicBezTo>
                    <a:pt x="406" y="573"/>
                    <a:pt x="408" y="577"/>
                    <a:pt x="405" y="581"/>
                  </a:cubicBezTo>
                  <a:cubicBezTo>
                    <a:pt x="404" y="582"/>
                    <a:pt x="403" y="584"/>
                    <a:pt x="402" y="586"/>
                  </a:cubicBezTo>
                  <a:lnTo>
                    <a:pt x="402" y="567"/>
                  </a:lnTo>
                  <a:close/>
                  <a:moveTo>
                    <a:pt x="402" y="623"/>
                  </a:moveTo>
                  <a:cubicBezTo>
                    <a:pt x="405" y="633"/>
                    <a:pt x="409" y="641"/>
                    <a:pt x="412" y="648"/>
                  </a:cubicBezTo>
                  <a:cubicBezTo>
                    <a:pt x="402" y="648"/>
                    <a:pt x="402" y="648"/>
                    <a:pt x="402" y="648"/>
                  </a:cubicBezTo>
                  <a:lnTo>
                    <a:pt x="402" y="623"/>
                  </a:lnTo>
                  <a:close/>
                  <a:moveTo>
                    <a:pt x="423" y="165"/>
                  </a:moveTo>
                  <a:cubicBezTo>
                    <a:pt x="425" y="149"/>
                    <a:pt x="425" y="149"/>
                    <a:pt x="425" y="149"/>
                  </a:cubicBezTo>
                  <a:cubicBezTo>
                    <a:pt x="429" y="155"/>
                    <a:pt x="433" y="162"/>
                    <a:pt x="434" y="166"/>
                  </a:cubicBezTo>
                  <a:cubicBezTo>
                    <a:pt x="432" y="165"/>
                    <a:pt x="429" y="165"/>
                    <a:pt x="426" y="165"/>
                  </a:cubicBezTo>
                  <a:cubicBezTo>
                    <a:pt x="425" y="165"/>
                    <a:pt x="424" y="165"/>
                    <a:pt x="423" y="165"/>
                  </a:cubicBezTo>
                  <a:close/>
                  <a:moveTo>
                    <a:pt x="204" y="273"/>
                  </a:moveTo>
                  <a:cubicBezTo>
                    <a:pt x="198" y="310"/>
                    <a:pt x="194" y="349"/>
                    <a:pt x="194" y="389"/>
                  </a:cubicBezTo>
                  <a:cubicBezTo>
                    <a:pt x="56" y="389"/>
                    <a:pt x="56" y="389"/>
                    <a:pt x="56" y="389"/>
                  </a:cubicBezTo>
                  <a:cubicBezTo>
                    <a:pt x="48" y="361"/>
                    <a:pt x="39" y="325"/>
                    <a:pt x="31" y="282"/>
                  </a:cubicBezTo>
                  <a:cubicBezTo>
                    <a:pt x="32" y="279"/>
                    <a:pt x="33" y="276"/>
                    <a:pt x="34" y="273"/>
                  </a:cubicBezTo>
                  <a:lnTo>
                    <a:pt x="204" y="273"/>
                  </a:lnTo>
                  <a:close/>
                  <a:moveTo>
                    <a:pt x="134" y="533"/>
                  </a:moveTo>
                  <a:cubicBezTo>
                    <a:pt x="206" y="533"/>
                    <a:pt x="206" y="533"/>
                    <a:pt x="206" y="533"/>
                  </a:cubicBezTo>
                  <a:cubicBezTo>
                    <a:pt x="214" y="574"/>
                    <a:pt x="225" y="613"/>
                    <a:pt x="240" y="648"/>
                  </a:cubicBezTo>
                  <a:cubicBezTo>
                    <a:pt x="143" y="648"/>
                    <a:pt x="143" y="648"/>
                    <a:pt x="143" y="648"/>
                  </a:cubicBezTo>
                  <a:cubicBezTo>
                    <a:pt x="122" y="595"/>
                    <a:pt x="129" y="558"/>
                    <a:pt x="134" y="533"/>
                  </a:cubicBezTo>
                  <a:close/>
                  <a:moveTo>
                    <a:pt x="220" y="533"/>
                  </a:moveTo>
                  <a:cubicBezTo>
                    <a:pt x="379" y="533"/>
                    <a:pt x="379" y="533"/>
                    <a:pt x="379" y="533"/>
                  </a:cubicBezTo>
                  <a:cubicBezTo>
                    <a:pt x="379" y="536"/>
                    <a:pt x="380" y="540"/>
                    <a:pt x="383" y="544"/>
                  </a:cubicBezTo>
                  <a:cubicBezTo>
                    <a:pt x="385" y="546"/>
                    <a:pt x="386" y="548"/>
                    <a:pt x="388" y="550"/>
                  </a:cubicBezTo>
                  <a:cubicBezTo>
                    <a:pt x="388" y="648"/>
                    <a:pt x="388" y="648"/>
                    <a:pt x="388" y="648"/>
                  </a:cubicBezTo>
                  <a:cubicBezTo>
                    <a:pt x="255" y="648"/>
                    <a:pt x="255" y="648"/>
                    <a:pt x="255" y="648"/>
                  </a:cubicBezTo>
                  <a:cubicBezTo>
                    <a:pt x="240" y="614"/>
                    <a:pt x="228" y="575"/>
                    <a:pt x="220" y="533"/>
                  </a:cubicBezTo>
                  <a:close/>
                  <a:moveTo>
                    <a:pt x="388" y="662"/>
                  </a:moveTo>
                  <a:cubicBezTo>
                    <a:pt x="388" y="777"/>
                    <a:pt x="388" y="777"/>
                    <a:pt x="388" y="777"/>
                  </a:cubicBezTo>
                  <a:cubicBezTo>
                    <a:pt x="339" y="774"/>
                    <a:pt x="294" y="730"/>
                    <a:pt x="261" y="662"/>
                  </a:cubicBezTo>
                  <a:lnTo>
                    <a:pt x="388" y="662"/>
                  </a:lnTo>
                  <a:close/>
                  <a:moveTo>
                    <a:pt x="402" y="662"/>
                  </a:moveTo>
                  <a:cubicBezTo>
                    <a:pt x="419" y="662"/>
                    <a:pt x="419" y="662"/>
                    <a:pt x="419" y="662"/>
                  </a:cubicBezTo>
                  <a:cubicBezTo>
                    <a:pt x="419" y="662"/>
                    <a:pt x="419" y="663"/>
                    <a:pt x="419" y="663"/>
                  </a:cubicBezTo>
                  <a:cubicBezTo>
                    <a:pt x="427" y="678"/>
                    <a:pt x="433" y="692"/>
                    <a:pt x="449" y="692"/>
                  </a:cubicBezTo>
                  <a:cubicBezTo>
                    <a:pt x="452" y="692"/>
                    <a:pt x="455" y="691"/>
                    <a:pt x="458" y="691"/>
                  </a:cubicBezTo>
                  <a:cubicBezTo>
                    <a:pt x="470" y="687"/>
                    <a:pt x="491" y="675"/>
                    <a:pt x="505" y="665"/>
                  </a:cubicBezTo>
                  <a:cubicBezTo>
                    <a:pt x="506" y="664"/>
                    <a:pt x="508" y="663"/>
                    <a:pt x="509" y="662"/>
                  </a:cubicBezTo>
                  <a:cubicBezTo>
                    <a:pt x="529" y="662"/>
                    <a:pt x="529" y="662"/>
                    <a:pt x="529" y="662"/>
                  </a:cubicBezTo>
                  <a:cubicBezTo>
                    <a:pt x="496" y="732"/>
                    <a:pt x="450" y="774"/>
                    <a:pt x="402" y="777"/>
                  </a:cubicBezTo>
                  <a:lnTo>
                    <a:pt x="402" y="662"/>
                  </a:lnTo>
                  <a:close/>
                  <a:moveTo>
                    <a:pt x="528" y="648"/>
                  </a:moveTo>
                  <a:cubicBezTo>
                    <a:pt x="539" y="638"/>
                    <a:pt x="539" y="634"/>
                    <a:pt x="539" y="632"/>
                  </a:cubicBezTo>
                  <a:cubicBezTo>
                    <a:pt x="539" y="628"/>
                    <a:pt x="545" y="617"/>
                    <a:pt x="552" y="605"/>
                  </a:cubicBezTo>
                  <a:cubicBezTo>
                    <a:pt x="547" y="621"/>
                    <a:pt x="541" y="635"/>
                    <a:pt x="536" y="648"/>
                  </a:cubicBezTo>
                  <a:lnTo>
                    <a:pt x="528" y="648"/>
                  </a:lnTo>
                  <a:close/>
                  <a:moveTo>
                    <a:pt x="570" y="592"/>
                  </a:moveTo>
                  <a:cubicBezTo>
                    <a:pt x="575" y="588"/>
                    <a:pt x="579" y="584"/>
                    <a:pt x="582" y="579"/>
                  </a:cubicBezTo>
                  <a:cubicBezTo>
                    <a:pt x="584" y="573"/>
                    <a:pt x="584" y="567"/>
                    <a:pt x="581" y="561"/>
                  </a:cubicBezTo>
                  <a:cubicBezTo>
                    <a:pt x="577" y="554"/>
                    <a:pt x="576" y="544"/>
                    <a:pt x="579" y="533"/>
                  </a:cubicBezTo>
                  <a:cubicBezTo>
                    <a:pt x="752" y="533"/>
                    <a:pt x="752" y="533"/>
                    <a:pt x="752" y="533"/>
                  </a:cubicBezTo>
                  <a:cubicBezTo>
                    <a:pt x="735" y="575"/>
                    <a:pt x="711" y="614"/>
                    <a:pt x="682" y="648"/>
                  </a:cubicBezTo>
                  <a:cubicBezTo>
                    <a:pt x="551" y="648"/>
                    <a:pt x="551" y="648"/>
                    <a:pt x="551" y="648"/>
                  </a:cubicBezTo>
                  <a:cubicBezTo>
                    <a:pt x="558" y="631"/>
                    <a:pt x="565" y="612"/>
                    <a:pt x="570" y="592"/>
                  </a:cubicBezTo>
                  <a:close/>
                  <a:moveTo>
                    <a:pt x="175" y="708"/>
                  </a:moveTo>
                  <a:cubicBezTo>
                    <a:pt x="164" y="691"/>
                    <a:pt x="155" y="676"/>
                    <a:pt x="149" y="662"/>
                  </a:cubicBezTo>
                  <a:cubicBezTo>
                    <a:pt x="246" y="662"/>
                    <a:pt x="246" y="662"/>
                    <a:pt x="246" y="662"/>
                  </a:cubicBezTo>
                  <a:cubicBezTo>
                    <a:pt x="248" y="666"/>
                    <a:pt x="250" y="670"/>
                    <a:pt x="252" y="674"/>
                  </a:cubicBezTo>
                  <a:cubicBezTo>
                    <a:pt x="275" y="720"/>
                    <a:pt x="302" y="753"/>
                    <a:pt x="333" y="772"/>
                  </a:cubicBezTo>
                  <a:cubicBezTo>
                    <a:pt x="275" y="763"/>
                    <a:pt x="221" y="740"/>
                    <a:pt x="175" y="708"/>
                  </a:cubicBezTo>
                  <a:close/>
                  <a:moveTo>
                    <a:pt x="457" y="773"/>
                  </a:moveTo>
                  <a:cubicBezTo>
                    <a:pt x="491" y="751"/>
                    <a:pt x="521" y="713"/>
                    <a:pt x="545" y="662"/>
                  </a:cubicBezTo>
                  <a:cubicBezTo>
                    <a:pt x="669" y="662"/>
                    <a:pt x="669" y="662"/>
                    <a:pt x="669" y="662"/>
                  </a:cubicBezTo>
                  <a:cubicBezTo>
                    <a:pt x="613" y="719"/>
                    <a:pt x="539" y="759"/>
                    <a:pt x="457" y="77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grpSp>
        <p:nvGrpSpPr>
          <p:cNvPr id="47" name="Gruppieren 46"/>
          <p:cNvGrpSpPr/>
          <p:nvPr/>
        </p:nvGrpSpPr>
        <p:grpSpPr>
          <a:xfrm>
            <a:off x="10110655" y="1909885"/>
            <a:ext cx="775266" cy="767590"/>
            <a:chOff x="7381253" y="2198833"/>
            <a:chExt cx="822960" cy="822960"/>
          </a:xfrm>
        </p:grpSpPr>
        <p:sp>
          <p:nvSpPr>
            <p:cNvPr id="40" name="Oval 49"/>
            <p:cNvSpPr>
              <a:spLocks noChangeArrowheads="1"/>
            </p:cNvSpPr>
            <p:nvPr/>
          </p:nvSpPr>
          <p:spPr bwMode="auto">
            <a:xfrm>
              <a:off x="7381253" y="2198833"/>
              <a:ext cx="822960" cy="82296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1" name="Freeform 93"/>
            <p:cNvSpPr>
              <a:spLocks noEditPoints="1"/>
            </p:cNvSpPr>
            <p:nvPr/>
          </p:nvSpPr>
          <p:spPr bwMode="auto">
            <a:xfrm>
              <a:off x="7603652" y="2366023"/>
              <a:ext cx="376433" cy="488579"/>
            </a:xfrm>
            <a:custGeom>
              <a:avLst/>
              <a:gdLst>
                <a:gd name="T0" fmla="*/ 486 w 486"/>
                <a:gd name="T1" fmla="*/ 163 h 630"/>
                <a:gd name="T2" fmla="*/ 485 w 486"/>
                <a:gd name="T3" fmla="*/ 161 h 630"/>
                <a:gd name="T4" fmla="*/ 484 w 486"/>
                <a:gd name="T5" fmla="*/ 160 h 630"/>
                <a:gd name="T6" fmla="*/ 326 w 486"/>
                <a:gd name="T7" fmla="*/ 2 h 630"/>
                <a:gd name="T8" fmla="*/ 325 w 486"/>
                <a:gd name="T9" fmla="*/ 1 h 630"/>
                <a:gd name="T10" fmla="*/ 323 w 486"/>
                <a:gd name="T11" fmla="*/ 1 h 630"/>
                <a:gd name="T12" fmla="*/ 122 w 486"/>
                <a:gd name="T13" fmla="*/ 0 h 630"/>
                <a:gd name="T14" fmla="*/ 115 w 486"/>
                <a:gd name="T15" fmla="*/ 137 h 630"/>
                <a:gd name="T16" fmla="*/ 0 w 486"/>
                <a:gd name="T17" fmla="*/ 144 h 630"/>
                <a:gd name="T18" fmla="*/ 7 w 486"/>
                <a:gd name="T19" fmla="*/ 630 h 630"/>
                <a:gd name="T20" fmla="*/ 372 w 486"/>
                <a:gd name="T21" fmla="*/ 623 h 630"/>
                <a:gd name="T22" fmla="*/ 479 w 486"/>
                <a:gd name="T23" fmla="*/ 493 h 630"/>
                <a:gd name="T24" fmla="*/ 486 w 486"/>
                <a:gd name="T25" fmla="*/ 165 h 630"/>
                <a:gd name="T26" fmla="*/ 329 w 486"/>
                <a:gd name="T27" fmla="*/ 24 h 630"/>
                <a:gd name="T28" fmla="*/ 329 w 486"/>
                <a:gd name="T29" fmla="*/ 158 h 630"/>
                <a:gd name="T30" fmla="*/ 358 w 486"/>
                <a:gd name="T31" fmla="*/ 616 h 630"/>
                <a:gd name="T32" fmla="*/ 14 w 486"/>
                <a:gd name="T33" fmla="*/ 151 h 630"/>
                <a:gd name="T34" fmla="*/ 200 w 486"/>
                <a:gd name="T35" fmla="*/ 302 h 630"/>
                <a:gd name="T36" fmla="*/ 358 w 486"/>
                <a:gd name="T37" fmla="*/ 309 h 630"/>
                <a:gd name="T38" fmla="*/ 348 w 486"/>
                <a:gd name="T39" fmla="*/ 295 h 630"/>
                <a:gd name="T40" fmla="*/ 214 w 486"/>
                <a:gd name="T41" fmla="*/ 161 h 630"/>
                <a:gd name="T42" fmla="*/ 372 w 486"/>
                <a:gd name="T43" fmla="*/ 479 h 630"/>
                <a:gd name="T44" fmla="*/ 372 w 486"/>
                <a:gd name="T45" fmla="*/ 301 h 630"/>
                <a:gd name="T46" fmla="*/ 371 w 486"/>
                <a:gd name="T47" fmla="*/ 299 h 630"/>
                <a:gd name="T48" fmla="*/ 371 w 486"/>
                <a:gd name="T49" fmla="*/ 298 h 630"/>
                <a:gd name="T50" fmla="*/ 212 w 486"/>
                <a:gd name="T51" fmla="*/ 139 h 630"/>
                <a:gd name="T52" fmla="*/ 211 w 486"/>
                <a:gd name="T53" fmla="*/ 138 h 630"/>
                <a:gd name="T54" fmla="*/ 210 w 486"/>
                <a:gd name="T55" fmla="*/ 138 h 630"/>
                <a:gd name="T56" fmla="*/ 207 w 486"/>
                <a:gd name="T57" fmla="*/ 137 h 630"/>
                <a:gd name="T58" fmla="*/ 129 w 486"/>
                <a:gd name="T59" fmla="*/ 14 h 630"/>
                <a:gd name="T60" fmla="*/ 315 w 486"/>
                <a:gd name="T61" fmla="*/ 165 h 630"/>
                <a:gd name="T62" fmla="*/ 472 w 486"/>
                <a:gd name="T63" fmla="*/ 172 h 630"/>
                <a:gd name="T64" fmla="*/ 372 w 486"/>
                <a:gd name="T65" fmla="*/ 479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86" h="630">
                  <a:moveTo>
                    <a:pt x="486" y="164"/>
                  </a:moveTo>
                  <a:cubicBezTo>
                    <a:pt x="486" y="163"/>
                    <a:pt x="486" y="163"/>
                    <a:pt x="486" y="163"/>
                  </a:cubicBezTo>
                  <a:cubicBezTo>
                    <a:pt x="486" y="162"/>
                    <a:pt x="486" y="162"/>
                    <a:pt x="486" y="162"/>
                  </a:cubicBezTo>
                  <a:cubicBezTo>
                    <a:pt x="486" y="162"/>
                    <a:pt x="486" y="162"/>
                    <a:pt x="485" y="161"/>
                  </a:cubicBezTo>
                  <a:cubicBezTo>
                    <a:pt x="485" y="161"/>
                    <a:pt x="485" y="161"/>
                    <a:pt x="485" y="161"/>
                  </a:cubicBezTo>
                  <a:cubicBezTo>
                    <a:pt x="485" y="161"/>
                    <a:pt x="485" y="160"/>
                    <a:pt x="484" y="160"/>
                  </a:cubicBezTo>
                  <a:cubicBezTo>
                    <a:pt x="327" y="2"/>
                    <a:pt x="327" y="2"/>
                    <a:pt x="327" y="2"/>
                  </a:cubicBezTo>
                  <a:cubicBezTo>
                    <a:pt x="327" y="2"/>
                    <a:pt x="326" y="2"/>
                    <a:pt x="326" y="2"/>
                  </a:cubicBezTo>
                  <a:cubicBezTo>
                    <a:pt x="326" y="2"/>
                    <a:pt x="326" y="2"/>
                    <a:pt x="326" y="1"/>
                  </a:cubicBezTo>
                  <a:cubicBezTo>
                    <a:pt x="325" y="1"/>
                    <a:pt x="325" y="1"/>
                    <a:pt x="325" y="1"/>
                  </a:cubicBezTo>
                  <a:cubicBezTo>
                    <a:pt x="324" y="1"/>
                    <a:pt x="324" y="1"/>
                    <a:pt x="324" y="1"/>
                  </a:cubicBezTo>
                  <a:cubicBezTo>
                    <a:pt x="324" y="1"/>
                    <a:pt x="324" y="1"/>
                    <a:pt x="323" y="1"/>
                  </a:cubicBezTo>
                  <a:cubicBezTo>
                    <a:pt x="323" y="0"/>
                    <a:pt x="322" y="0"/>
                    <a:pt x="322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18" y="0"/>
                    <a:pt x="115" y="4"/>
                    <a:pt x="115" y="7"/>
                  </a:cubicBezTo>
                  <a:cubicBezTo>
                    <a:pt x="115" y="137"/>
                    <a:pt x="115" y="137"/>
                    <a:pt x="115" y="137"/>
                  </a:cubicBezTo>
                  <a:cubicBezTo>
                    <a:pt x="7" y="137"/>
                    <a:pt x="7" y="137"/>
                    <a:pt x="7" y="137"/>
                  </a:cubicBezTo>
                  <a:cubicBezTo>
                    <a:pt x="3" y="137"/>
                    <a:pt x="0" y="141"/>
                    <a:pt x="0" y="144"/>
                  </a:cubicBezTo>
                  <a:cubicBezTo>
                    <a:pt x="0" y="623"/>
                    <a:pt x="0" y="623"/>
                    <a:pt x="0" y="623"/>
                  </a:cubicBezTo>
                  <a:cubicBezTo>
                    <a:pt x="0" y="626"/>
                    <a:pt x="3" y="630"/>
                    <a:pt x="7" y="630"/>
                  </a:cubicBezTo>
                  <a:cubicBezTo>
                    <a:pt x="365" y="630"/>
                    <a:pt x="365" y="630"/>
                    <a:pt x="365" y="630"/>
                  </a:cubicBezTo>
                  <a:cubicBezTo>
                    <a:pt x="369" y="630"/>
                    <a:pt x="372" y="626"/>
                    <a:pt x="372" y="623"/>
                  </a:cubicBezTo>
                  <a:cubicBezTo>
                    <a:pt x="372" y="493"/>
                    <a:pt x="372" y="493"/>
                    <a:pt x="372" y="493"/>
                  </a:cubicBezTo>
                  <a:cubicBezTo>
                    <a:pt x="479" y="493"/>
                    <a:pt x="479" y="493"/>
                    <a:pt x="479" y="493"/>
                  </a:cubicBezTo>
                  <a:cubicBezTo>
                    <a:pt x="483" y="493"/>
                    <a:pt x="486" y="489"/>
                    <a:pt x="486" y="486"/>
                  </a:cubicBezTo>
                  <a:cubicBezTo>
                    <a:pt x="486" y="165"/>
                    <a:pt x="486" y="165"/>
                    <a:pt x="486" y="165"/>
                  </a:cubicBezTo>
                  <a:cubicBezTo>
                    <a:pt x="486" y="164"/>
                    <a:pt x="486" y="164"/>
                    <a:pt x="486" y="164"/>
                  </a:cubicBezTo>
                  <a:close/>
                  <a:moveTo>
                    <a:pt x="329" y="24"/>
                  </a:moveTo>
                  <a:cubicBezTo>
                    <a:pt x="463" y="158"/>
                    <a:pt x="463" y="158"/>
                    <a:pt x="463" y="158"/>
                  </a:cubicBezTo>
                  <a:cubicBezTo>
                    <a:pt x="329" y="158"/>
                    <a:pt x="329" y="158"/>
                    <a:pt x="329" y="158"/>
                  </a:cubicBezTo>
                  <a:lnTo>
                    <a:pt x="329" y="24"/>
                  </a:lnTo>
                  <a:close/>
                  <a:moveTo>
                    <a:pt x="358" y="616"/>
                  </a:moveTo>
                  <a:cubicBezTo>
                    <a:pt x="14" y="616"/>
                    <a:pt x="14" y="616"/>
                    <a:pt x="14" y="616"/>
                  </a:cubicBezTo>
                  <a:cubicBezTo>
                    <a:pt x="14" y="151"/>
                    <a:pt x="14" y="151"/>
                    <a:pt x="14" y="151"/>
                  </a:cubicBezTo>
                  <a:cubicBezTo>
                    <a:pt x="200" y="151"/>
                    <a:pt x="200" y="151"/>
                    <a:pt x="200" y="151"/>
                  </a:cubicBezTo>
                  <a:cubicBezTo>
                    <a:pt x="200" y="302"/>
                    <a:pt x="200" y="302"/>
                    <a:pt x="200" y="302"/>
                  </a:cubicBezTo>
                  <a:cubicBezTo>
                    <a:pt x="200" y="306"/>
                    <a:pt x="203" y="309"/>
                    <a:pt x="207" y="309"/>
                  </a:cubicBezTo>
                  <a:cubicBezTo>
                    <a:pt x="358" y="309"/>
                    <a:pt x="358" y="309"/>
                    <a:pt x="358" y="309"/>
                  </a:cubicBezTo>
                  <a:lnTo>
                    <a:pt x="358" y="616"/>
                  </a:lnTo>
                  <a:close/>
                  <a:moveTo>
                    <a:pt x="348" y="295"/>
                  </a:moveTo>
                  <a:cubicBezTo>
                    <a:pt x="214" y="295"/>
                    <a:pt x="214" y="295"/>
                    <a:pt x="214" y="295"/>
                  </a:cubicBezTo>
                  <a:cubicBezTo>
                    <a:pt x="214" y="161"/>
                    <a:pt x="214" y="161"/>
                    <a:pt x="214" y="161"/>
                  </a:cubicBezTo>
                  <a:lnTo>
                    <a:pt x="348" y="295"/>
                  </a:lnTo>
                  <a:close/>
                  <a:moveTo>
                    <a:pt x="372" y="479"/>
                  </a:moveTo>
                  <a:cubicBezTo>
                    <a:pt x="372" y="302"/>
                    <a:pt x="372" y="302"/>
                    <a:pt x="372" y="302"/>
                  </a:cubicBezTo>
                  <a:cubicBezTo>
                    <a:pt x="372" y="301"/>
                    <a:pt x="372" y="301"/>
                    <a:pt x="372" y="301"/>
                  </a:cubicBezTo>
                  <a:cubicBezTo>
                    <a:pt x="372" y="300"/>
                    <a:pt x="371" y="300"/>
                    <a:pt x="371" y="300"/>
                  </a:cubicBezTo>
                  <a:cubicBezTo>
                    <a:pt x="371" y="299"/>
                    <a:pt x="371" y="299"/>
                    <a:pt x="371" y="299"/>
                  </a:cubicBezTo>
                  <a:cubicBezTo>
                    <a:pt x="371" y="299"/>
                    <a:pt x="371" y="299"/>
                    <a:pt x="371" y="298"/>
                  </a:cubicBezTo>
                  <a:cubicBezTo>
                    <a:pt x="371" y="298"/>
                    <a:pt x="371" y="298"/>
                    <a:pt x="371" y="298"/>
                  </a:cubicBezTo>
                  <a:cubicBezTo>
                    <a:pt x="370" y="298"/>
                    <a:pt x="370" y="297"/>
                    <a:pt x="370" y="297"/>
                  </a:cubicBezTo>
                  <a:cubicBezTo>
                    <a:pt x="212" y="139"/>
                    <a:pt x="212" y="139"/>
                    <a:pt x="212" y="139"/>
                  </a:cubicBezTo>
                  <a:cubicBezTo>
                    <a:pt x="212" y="139"/>
                    <a:pt x="211" y="139"/>
                    <a:pt x="211" y="139"/>
                  </a:cubicBezTo>
                  <a:cubicBezTo>
                    <a:pt x="211" y="139"/>
                    <a:pt x="211" y="138"/>
                    <a:pt x="211" y="138"/>
                  </a:cubicBezTo>
                  <a:cubicBezTo>
                    <a:pt x="211" y="138"/>
                    <a:pt x="210" y="138"/>
                    <a:pt x="210" y="138"/>
                  </a:cubicBezTo>
                  <a:cubicBezTo>
                    <a:pt x="210" y="138"/>
                    <a:pt x="210" y="138"/>
                    <a:pt x="210" y="138"/>
                  </a:cubicBezTo>
                  <a:cubicBezTo>
                    <a:pt x="209" y="138"/>
                    <a:pt x="209" y="138"/>
                    <a:pt x="209" y="138"/>
                  </a:cubicBezTo>
                  <a:cubicBezTo>
                    <a:pt x="208" y="137"/>
                    <a:pt x="208" y="137"/>
                    <a:pt x="207" y="137"/>
                  </a:cubicBezTo>
                  <a:cubicBezTo>
                    <a:pt x="129" y="137"/>
                    <a:pt x="129" y="137"/>
                    <a:pt x="129" y="137"/>
                  </a:cubicBezTo>
                  <a:cubicBezTo>
                    <a:pt x="129" y="14"/>
                    <a:pt x="129" y="14"/>
                    <a:pt x="129" y="14"/>
                  </a:cubicBezTo>
                  <a:cubicBezTo>
                    <a:pt x="315" y="14"/>
                    <a:pt x="315" y="14"/>
                    <a:pt x="315" y="14"/>
                  </a:cubicBezTo>
                  <a:cubicBezTo>
                    <a:pt x="315" y="165"/>
                    <a:pt x="315" y="165"/>
                    <a:pt x="315" y="165"/>
                  </a:cubicBezTo>
                  <a:cubicBezTo>
                    <a:pt x="315" y="169"/>
                    <a:pt x="318" y="172"/>
                    <a:pt x="322" y="172"/>
                  </a:cubicBezTo>
                  <a:cubicBezTo>
                    <a:pt x="472" y="172"/>
                    <a:pt x="472" y="172"/>
                    <a:pt x="472" y="172"/>
                  </a:cubicBezTo>
                  <a:cubicBezTo>
                    <a:pt x="472" y="479"/>
                    <a:pt x="472" y="479"/>
                    <a:pt x="472" y="479"/>
                  </a:cubicBezTo>
                  <a:lnTo>
                    <a:pt x="372" y="479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cxnSp>
        <p:nvCxnSpPr>
          <p:cNvPr id="124" name="Gerade Verbindung 123"/>
          <p:cNvCxnSpPr/>
          <p:nvPr/>
        </p:nvCxnSpPr>
        <p:spPr>
          <a:xfrm flipV="1">
            <a:off x="4877325" y="3157259"/>
            <a:ext cx="1180883" cy="2436713"/>
          </a:xfrm>
          <a:prstGeom prst="line">
            <a:avLst/>
          </a:prstGeom>
          <a:ln w="952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cxnSp>
      <p:cxnSp>
        <p:nvCxnSpPr>
          <p:cNvPr id="127" name="Gerade Verbindung 126"/>
          <p:cNvCxnSpPr/>
          <p:nvPr/>
        </p:nvCxnSpPr>
        <p:spPr>
          <a:xfrm flipH="1" flipV="1">
            <a:off x="6037657" y="3176975"/>
            <a:ext cx="216273" cy="2828477"/>
          </a:xfrm>
          <a:prstGeom prst="line">
            <a:avLst/>
          </a:prstGeom>
          <a:ln w="952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cxnSp>
      <p:cxnSp>
        <p:nvCxnSpPr>
          <p:cNvPr id="131" name="Gerade Verbindung 130"/>
          <p:cNvCxnSpPr>
            <a:endCxn id="39" idx="26"/>
          </p:cNvCxnSpPr>
          <p:nvPr/>
        </p:nvCxnSpPr>
        <p:spPr>
          <a:xfrm flipH="1" flipV="1">
            <a:off x="6136798" y="3215722"/>
            <a:ext cx="1294920" cy="2545327"/>
          </a:xfrm>
          <a:prstGeom prst="line">
            <a:avLst/>
          </a:prstGeom>
          <a:ln w="952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cxnSp>
      <p:cxnSp>
        <p:nvCxnSpPr>
          <p:cNvPr id="135" name="Gerade Verbindung 134"/>
          <p:cNvCxnSpPr>
            <a:stCxn id="19" idx="43"/>
            <a:endCxn id="39" idx="26"/>
          </p:cNvCxnSpPr>
          <p:nvPr/>
        </p:nvCxnSpPr>
        <p:spPr>
          <a:xfrm flipH="1" flipV="1">
            <a:off x="6136798" y="3215722"/>
            <a:ext cx="3749722" cy="2821440"/>
          </a:xfrm>
          <a:prstGeom prst="line">
            <a:avLst/>
          </a:prstGeom>
          <a:ln w="952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cxnSp>
      <p:grpSp>
        <p:nvGrpSpPr>
          <p:cNvPr id="5" name="Gruppieren 4"/>
          <p:cNvGrpSpPr/>
          <p:nvPr/>
        </p:nvGrpSpPr>
        <p:grpSpPr>
          <a:xfrm>
            <a:off x="5842694" y="5761048"/>
            <a:ext cx="822960" cy="822960"/>
            <a:chOff x="3552358" y="3151641"/>
            <a:chExt cx="822960" cy="822960"/>
          </a:xfrm>
        </p:grpSpPr>
        <p:sp>
          <p:nvSpPr>
            <p:cNvPr id="6" name="Oval 15"/>
            <p:cNvSpPr>
              <a:spLocks noChangeArrowheads="1"/>
            </p:cNvSpPr>
            <p:nvPr/>
          </p:nvSpPr>
          <p:spPr bwMode="auto">
            <a:xfrm>
              <a:off x="3552358" y="3151641"/>
              <a:ext cx="822960" cy="822960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7" name="Freeform 30"/>
            <p:cNvSpPr>
              <a:spLocks noEditPoints="1"/>
            </p:cNvSpPr>
            <p:nvPr/>
          </p:nvSpPr>
          <p:spPr bwMode="auto">
            <a:xfrm>
              <a:off x="3767872" y="3372042"/>
              <a:ext cx="391444" cy="381670"/>
            </a:xfrm>
            <a:custGeom>
              <a:avLst/>
              <a:gdLst>
                <a:gd name="T0" fmla="*/ 339 w 339"/>
                <a:gd name="T1" fmla="*/ 98 h 331"/>
                <a:gd name="T2" fmla="*/ 287 w 339"/>
                <a:gd name="T3" fmla="*/ 0 h 331"/>
                <a:gd name="T4" fmla="*/ 47 w 339"/>
                <a:gd name="T5" fmla="*/ 3 h 331"/>
                <a:gd name="T6" fmla="*/ 0 w 339"/>
                <a:gd name="T7" fmla="*/ 98 h 331"/>
                <a:gd name="T8" fmla="*/ 0 w 339"/>
                <a:gd name="T9" fmla="*/ 326 h 331"/>
                <a:gd name="T10" fmla="*/ 335 w 339"/>
                <a:gd name="T11" fmla="*/ 331 h 331"/>
                <a:gd name="T12" fmla="*/ 339 w 339"/>
                <a:gd name="T13" fmla="*/ 100 h 331"/>
                <a:gd name="T14" fmla="*/ 54 w 339"/>
                <a:gd name="T15" fmla="*/ 9 h 331"/>
                <a:gd name="T16" fmla="*/ 327 w 339"/>
                <a:gd name="T17" fmla="*/ 96 h 331"/>
                <a:gd name="T18" fmla="*/ 54 w 339"/>
                <a:gd name="T19" fmla="*/ 9 h 331"/>
                <a:gd name="T20" fmla="*/ 9 w 339"/>
                <a:gd name="T21" fmla="*/ 322 h 331"/>
                <a:gd name="T22" fmla="*/ 330 w 339"/>
                <a:gd name="T23" fmla="*/ 256 h 331"/>
                <a:gd name="T24" fmla="*/ 330 w 339"/>
                <a:gd name="T25" fmla="*/ 246 h 331"/>
                <a:gd name="T26" fmla="*/ 9 w 339"/>
                <a:gd name="T27" fmla="*/ 180 h 331"/>
                <a:gd name="T28" fmla="*/ 330 w 339"/>
                <a:gd name="T29" fmla="*/ 246 h 331"/>
                <a:gd name="T30" fmla="*/ 9 w 339"/>
                <a:gd name="T31" fmla="*/ 171 h 331"/>
                <a:gd name="T32" fmla="*/ 330 w 339"/>
                <a:gd name="T33" fmla="*/ 105 h 331"/>
                <a:gd name="T34" fmla="*/ 245 w 339"/>
                <a:gd name="T35" fmla="*/ 308 h 331"/>
                <a:gd name="T36" fmla="*/ 245 w 339"/>
                <a:gd name="T37" fmla="*/ 269 h 331"/>
                <a:gd name="T38" fmla="*/ 245 w 339"/>
                <a:gd name="T39" fmla="*/ 308 h 331"/>
                <a:gd name="T40" fmla="*/ 255 w 339"/>
                <a:gd name="T41" fmla="*/ 289 h 331"/>
                <a:gd name="T42" fmla="*/ 235 w 339"/>
                <a:gd name="T43" fmla="*/ 289 h 331"/>
                <a:gd name="T44" fmla="*/ 289 w 339"/>
                <a:gd name="T45" fmla="*/ 308 h 331"/>
                <a:gd name="T46" fmla="*/ 289 w 339"/>
                <a:gd name="T47" fmla="*/ 269 h 331"/>
                <a:gd name="T48" fmla="*/ 289 w 339"/>
                <a:gd name="T49" fmla="*/ 308 h 331"/>
                <a:gd name="T50" fmla="*/ 299 w 339"/>
                <a:gd name="T51" fmla="*/ 289 h 331"/>
                <a:gd name="T52" fmla="*/ 279 w 339"/>
                <a:gd name="T53" fmla="*/ 289 h 331"/>
                <a:gd name="T54" fmla="*/ 245 w 339"/>
                <a:gd name="T55" fmla="*/ 158 h 331"/>
                <a:gd name="T56" fmla="*/ 245 w 339"/>
                <a:gd name="T57" fmla="*/ 119 h 331"/>
                <a:gd name="T58" fmla="*/ 245 w 339"/>
                <a:gd name="T59" fmla="*/ 158 h 331"/>
                <a:gd name="T60" fmla="*/ 255 w 339"/>
                <a:gd name="T61" fmla="*/ 138 h 331"/>
                <a:gd name="T62" fmla="*/ 235 w 339"/>
                <a:gd name="T63" fmla="*/ 138 h 331"/>
                <a:gd name="T64" fmla="*/ 289 w 339"/>
                <a:gd name="T65" fmla="*/ 158 h 331"/>
                <a:gd name="T66" fmla="*/ 289 w 339"/>
                <a:gd name="T67" fmla="*/ 119 h 331"/>
                <a:gd name="T68" fmla="*/ 289 w 339"/>
                <a:gd name="T69" fmla="*/ 158 h 331"/>
                <a:gd name="T70" fmla="*/ 299 w 339"/>
                <a:gd name="T71" fmla="*/ 138 h 331"/>
                <a:gd name="T72" fmla="*/ 279 w 339"/>
                <a:gd name="T73" fmla="*/ 138 h 331"/>
                <a:gd name="T74" fmla="*/ 245 w 339"/>
                <a:gd name="T75" fmla="*/ 233 h 331"/>
                <a:gd name="T76" fmla="*/ 245 w 339"/>
                <a:gd name="T77" fmla="*/ 194 h 331"/>
                <a:gd name="T78" fmla="*/ 245 w 339"/>
                <a:gd name="T79" fmla="*/ 233 h 331"/>
                <a:gd name="T80" fmla="*/ 255 w 339"/>
                <a:gd name="T81" fmla="*/ 213 h 331"/>
                <a:gd name="T82" fmla="*/ 235 w 339"/>
                <a:gd name="T83" fmla="*/ 213 h 331"/>
                <a:gd name="T84" fmla="*/ 289 w 339"/>
                <a:gd name="T85" fmla="*/ 233 h 331"/>
                <a:gd name="T86" fmla="*/ 289 w 339"/>
                <a:gd name="T87" fmla="*/ 194 h 331"/>
                <a:gd name="T88" fmla="*/ 289 w 339"/>
                <a:gd name="T89" fmla="*/ 233 h 331"/>
                <a:gd name="T90" fmla="*/ 299 w 339"/>
                <a:gd name="T91" fmla="*/ 213 h 331"/>
                <a:gd name="T92" fmla="*/ 279 w 339"/>
                <a:gd name="T93" fmla="*/ 213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39" h="331">
                  <a:moveTo>
                    <a:pt x="339" y="98"/>
                  </a:moveTo>
                  <a:cubicBezTo>
                    <a:pt x="339" y="98"/>
                    <a:pt x="339" y="98"/>
                    <a:pt x="339" y="98"/>
                  </a:cubicBezTo>
                  <a:cubicBezTo>
                    <a:pt x="292" y="3"/>
                    <a:pt x="292" y="3"/>
                    <a:pt x="292" y="3"/>
                  </a:cubicBezTo>
                  <a:cubicBezTo>
                    <a:pt x="291" y="1"/>
                    <a:pt x="289" y="0"/>
                    <a:pt x="287" y="0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50" y="0"/>
                    <a:pt x="48" y="1"/>
                    <a:pt x="47" y="3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98"/>
                    <a:pt x="0" y="98"/>
                    <a:pt x="0" y="98"/>
                  </a:cubicBezTo>
                  <a:cubicBezTo>
                    <a:pt x="0" y="99"/>
                    <a:pt x="0" y="100"/>
                    <a:pt x="0" y="100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0" y="329"/>
                    <a:pt x="2" y="331"/>
                    <a:pt x="4" y="331"/>
                  </a:cubicBezTo>
                  <a:cubicBezTo>
                    <a:pt x="335" y="331"/>
                    <a:pt x="335" y="331"/>
                    <a:pt x="335" y="331"/>
                  </a:cubicBezTo>
                  <a:cubicBezTo>
                    <a:pt x="337" y="331"/>
                    <a:pt x="339" y="329"/>
                    <a:pt x="339" y="326"/>
                  </a:cubicBezTo>
                  <a:cubicBezTo>
                    <a:pt x="339" y="100"/>
                    <a:pt x="339" y="100"/>
                    <a:pt x="339" y="100"/>
                  </a:cubicBezTo>
                  <a:cubicBezTo>
                    <a:pt x="339" y="100"/>
                    <a:pt x="339" y="99"/>
                    <a:pt x="339" y="98"/>
                  </a:cubicBezTo>
                  <a:close/>
                  <a:moveTo>
                    <a:pt x="54" y="9"/>
                  </a:moveTo>
                  <a:cubicBezTo>
                    <a:pt x="285" y="9"/>
                    <a:pt x="285" y="9"/>
                    <a:pt x="285" y="9"/>
                  </a:cubicBezTo>
                  <a:cubicBezTo>
                    <a:pt x="327" y="96"/>
                    <a:pt x="327" y="96"/>
                    <a:pt x="327" y="96"/>
                  </a:cubicBezTo>
                  <a:cubicBezTo>
                    <a:pt x="12" y="96"/>
                    <a:pt x="12" y="96"/>
                    <a:pt x="12" y="96"/>
                  </a:cubicBezTo>
                  <a:lnTo>
                    <a:pt x="54" y="9"/>
                  </a:lnTo>
                  <a:close/>
                  <a:moveTo>
                    <a:pt x="330" y="322"/>
                  </a:moveTo>
                  <a:cubicBezTo>
                    <a:pt x="9" y="322"/>
                    <a:pt x="9" y="322"/>
                    <a:pt x="9" y="322"/>
                  </a:cubicBezTo>
                  <a:cubicBezTo>
                    <a:pt x="9" y="256"/>
                    <a:pt x="9" y="256"/>
                    <a:pt x="9" y="256"/>
                  </a:cubicBezTo>
                  <a:cubicBezTo>
                    <a:pt x="330" y="256"/>
                    <a:pt x="330" y="256"/>
                    <a:pt x="330" y="256"/>
                  </a:cubicBezTo>
                  <a:lnTo>
                    <a:pt x="330" y="322"/>
                  </a:lnTo>
                  <a:close/>
                  <a:moveTo>
                    <a:pt x="330" y="246"/>
                  </a:moveTo>
                  <a:cubicBezTo>
                    <a:pt x="9" y="246"/>
                    <a:pt x="9" y="246"/>
                    <a:pt x="9" y="246"/>
                  </a:cubicBezTo>
                  <a:cubicBezTo>
                    <a:pt x="9" y="180"/>
                    <a:pt x="9" y="180"/>
                    <a:pt x="9" y="180"/>
                  </a:cubicBezTo>
                  <a:cubicBezTo>
                    <a:pt x="330" y="180"/>
                    <a:pt x="330" y="180"/>
                    <a:pt x="330" y="180"/>
                  </a:cubicBezTo>
                  <a:lnTo>
                    <a:pt x="330" y="246"/>
                  </a:lnTo>
                  <a:close/>
                  <a:moveTo>
                    <a:pt x="330" y="171"/>
                  </a:moveTo>
                  <a:cubicBezTo>
                    <a:pt x="9" y="171"/>
                    <a:pt x="9" y="171"/>
                    <a:pt x="9" y="171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330" y="105"/>
                    <a:pt x="330" y="105"/>
                    <a:pt x="330" y="105"/>
                  </a:cubicBezTo>
                  <a:lnTo>
                    <a:pt x="330" y="171"/>
                  </a:lnTo>
                  <a:close/>
                  <a:moveTo>
                    <a:pt x="245" y="308"/>
                  </a:moveTo>
                  <a:cubicBezTo>
                    <a:pt x="256" y="308"/>
                    <a:pt x="264" y="299"/>
                    <a:pt x="264" y="289"/>
                  </a:cubicBezTo>
                  <a:cubicBezTo>
                    <a:pt x="264" y="278"/>
                    <a:pt x="256" y="269"/>
                    <a:pt x="245" y="269"/>
                  </a:cubicBezTo>
                  <a:cubicBezTo>
                    <a:pt x="234" y="269"/>
                    <a:pt x="225" y="278"/>
                    <a:pt x="225" y="289"/>
                  </a:cubicBezTo>
                  <a:cubicBezTo>
                    <a:pt x="225" y="299"/>
                    <a:pt x="234" y="308"/>
                    <a:pt x="245" y="308"/>
                  </a:cubicBezTo>
                  <a:close/>
                  <a:moveTo>
                    <a:pt x="245" y="279"/>
                  </a:moveTo>
                  <a:cubicBezTo>
                    <a:pt x="250" y="279"/>
                    <a:pt x="255" y="283"/>
                    <a:pt x="255" y="289"/>
                  </a:cubicBezTo>
                  <a:cubicBezTo>
                    <a:pt x="255" y="294"/>
                    <a:pt x="250" y="299"/>
                    <a:pt x="245" y="299"/>
                  </a:cubicBezTo>
                  <a:cubicBezTo>
                    <a:pt x="239" y="299"/>
                    <a:pt x="235" y="294"/>
                    <a:pt x="235" y="289"/>
                  </a:cubicBezTo>
                  <a:cubicBezTo>
                    <a:pt x="235" y="283"/>
                    <a:pt x="239" y="279"/>
                    <a:pt x="245" y="279"/>
                  </a:cubicBezTo>
                  <a:close/>
                  <a:moveTo>
                    <a:pt x="289" y="308"/>
                  </a:moveTo>
                  <a:cubicBezTo>
                    <a:pt x="299" y="308"/>
                    <a:pt x="308" y="299"/>
                    <a:pt x="308" y="289"/>
                  </a:cubicBezTo>
                  <a:cubicBezTo>
                    <a:pt x="308" y="278"/>
                    <a:pt x="299" y="269"/>
                    <a:pt x="289" y="269"/>
                  </a:cubicBezTo>
                  <a:cubicBezTo>
                    <a:pt x="278" y="269"/>
                    <a:pt x="269" y="278"/>
                    <a:pt x="269" y="289"/>
                  </a:cubicBezTo>
                  <a:cubicBezTo>
                    <a:pt x="269" y="299"/>
                    <a:pt x="278" y="308"/>
                    <a:pt x="289" y="308"/>
                  </a:cubicBezTo>
                  <a:close/>
                  <a:moveTo>
                    <a:pt x="289" y="279"/>
                  </a:moveTo>
                  <a:cubicBezTo>
                    <a:pt x="294" y="279"/>
                    <a:pt x="299" y="283"/>
                    <a:pt x="299" y="289"/>
                  </a:cubicBezTo>
                  <a:cubicBezTo>
                    <a:pt x="299" y="294"/>
                    <a:pt x="294" y="299"/>
                    <a:pt x="289" y="299"/>
                  </a:cubicBezTo>
                  <a:cubicBezTo>
                    <a:pt x="283" y="299"/>
                    <a:pt x="279" y="294"/>
                    <a:pt x="279" y="289"/>
                  </a:cubicBezTo>
                  <a:cubicBezTo>
                    <a:pt x="279" y="283"/>
                    <a:pt x="283" y="279"/>
                    <a:pt x="289" y="279"/>
                  </a:cubicBezTo>
                  <a:close/>
                  <a:moveTo>
                    <a:pt x="245" y="158"/>
                  </a:moveTo>
                  <a:cubicBezTo>
                    <a:pt x="256" y="158"/>
                    <a:pt x="264" y="149"/>
                    <a:pt x="264" y="138"/>
                  </a:cubicBezTo>
                  <a:cubicBezTo>
                    <a:pt x="264" y="127"/>
                    <a:pt x="256" y="119"/>
                    <a:pt x="245" y="119"/>
                  </a:cubicBezTo>
                  <a:cubicBezTo>
                    <a:pt x="234" y="119"/>
                    <a:pt x="225" y="127"/>
                    <a:pt x="225" y="138"/>
                  </a:cubicBezTo>
                  <a:cubicBezTo>
                    <a:pt x="225" y="149"/>
                    <a:pt x="234" y="158"/>
                    <a:pt x="245" y="158"/>
                  </a:cubicBezTo>
                  <a:close/>
                  <a:moveTo>
                    <a:pt x="245" y="128"/>
                  </a:moveTo>
                  <a:cubicBezTo>
                    <a:pt x="250" y="128"/>
                    <a:pt x="255" y="133"/>
                    <a:pt x="255" y="138"/>
                  </a:cubicBezTo>
                  <a:cubicBezTo>
                    <a:pt x="255" y="144"/>
                    <a:pt x="250" y="148"/>
                    <a:pt x="245" y="148"/>
                  </a:cubicBezTo>
                  <a:cubicBezTo>
                    <a:pt x="239" y="148"/>
                    <a:pt x="235" y="144"/>
                    <a:pt x="235" y="138"/>
                  </a:cubicBezTo>
                  <a:cubicBezTo>
                    <a:pt x="235" y="133"/>
                    <a:pt x="239" y="128"/>
                    <a:pt x="245" y="128"/>
                  </a:cubicBezTo>
                  <a:close/>
                  <a:moveTo>
                    <a:pt x="289" y="158"/>
                  </a:moveTo>
                  <a:cubicBezTo>
                    <a:pt x="299" y="158"/>
                    <a:pt x="308" y="149"/>
                    <a:pt x="308" y="138"/>
                  </a:cubicBezTo>
                  <a:cubicBezTo>
                    <a:pt x="308" y="127"/>
                    <a:pt x="299" y="119"/>
                    <a:pt x="289" y="119"/>
                  </a:cubicBezTo>
                  <a:cubicBezTo>
                    <a:pt x="278" y="119"/>
                    <a:pt x="269" y="127"/>
                    <a:pt x="269" y="138"/>
                  </a:cubicBezTo>
                  <a:cubicBezTo>
                    <a:pt x="269" y="149"/>
                    <a:pt x="278" y="158"/>
                    <a:pt x="289" y="158"/>
                  </a:cubicBezTo>
                  <a:close/>
                  <a:moveTo>
                    <a:pt x="289" y="128"/>
                  </a:moveTo>
                  <a:cubicBezTo>
                    <a:pt x="294" y="128"/>
                    <a:pt x="299" y="133"/>
                    <a:pt x="299" y="138"/>
                  </a:cubicBezTo>
                  <a:cubicBezTo>
                    <a:pt x="299" y="144"/>
                    <a:pt x="294" y="148"/>
                    <a:pt x="289" y="148"/>
                  </a:cubicBezTo>
                  <a:cubicBezTo>
                    <a:pt x="283" y="148"/>
                    <a:pt x="279" y="144"/>
                    <a:pt x="279" y="138"/>
                  </a:cubicBezTo>
                  <a:cubicBezTo>
                    <a:pt x="279" y="133"/>
                    <a:pt x="283" y="128"/>
                    <a:pt x="289" y="128"/>
                  </a:cubicBezTo>
                  <a:close/>
                  <a:moveTo>
                    <a:pt x="245" y="233"/>
                  </a:moveTo>
                  <a:cubicBezTo>
                    <a:pt x="256" y="233"/>
                    <a:pt x="264" y="224"/>
                    <a:pt x="264" y="213"/>
                  </a:cubicBezTo>
                  <a:cubicBezTo>
                    <a:pt x="264" y="203"/>
                    <a:pt x="256" y="194"/>
                    <a:pt x="245" y="194"/>
                  </a:cubicBezTo>
                  <a:cubicBezTo>
                    <a:pt x="234" y="194"/>
                    <a:pt x="225" y="203"/>
                    <a:pt x="225" y="213"/>
                  </a:cubicBezTo>
                  <a:cubicBezTo>
                    <a:pt x="225" y="224"/>
                    <a:pt x="234" y="233"/>
                    <a:pt x="245" y="233"/>
                  </a:cubicBezTo>
                  <a:close/>
                  <a:moveTo>
                    <a:pt x="245" y="203"/>
                  </a:moveTo>
                  <a:cubicBezTo>
                    <a:pt x="250" y="203"/>
                    <a:pt x="255" y="208"/>
                    <a:pt x="255" y="213"/>
                  </a:cubicBezTo>
                  <a:cubicBezTo>
                    <a:pt x="255" y="219"/>
                    <a:pt x="250" y="223"/>
                    <a:pt x="245" y="223"/>
                  </a:cubicBezTo>
                  <a:cubicBezTo>
                    <a:pt x="239" y="223"/>
                    <a:pt x="235" y="219"/>
                    <a:pt x="235" y="213"/>
                  </a:cubicBezTo>
                  <a:cubicBezTo>
                    <a:pt x="235" y="208"/>
                    <a:pt x="239" y="203"/>
                    <a:pt x="245" y="203"/>
                  </a:cubicBezTo>
                  <a:close/>
                  <a:moveTo>
                    <a:pt x="289" y="233"/>
                  </a:moveTo>
                  <a:cubicBezTo>
                    <a:pt x="299" y="233"/>
                    <a:pt x="308" y="224"/>
                    <a:pt x="308" y="213"/>
                  </a:cubicBezTo>
                  <a:cubicBezTo>
                    <a:pt x="308" y="203"/>
                    <a:pt x="299" y="194"/>
                    <a:pt x="289" y="194"/>
                  </a:cubicBezTo>
                  <a:cubicBezTo>
                    <a:pt x="278" y="194"/>
                    <a:pt x="269" y="203"/>
                    <a:pt x="269" y="213"/>
                  </a:cubicBezTo>
                  <a:cubicBezTo>
                    <a:pt x="269" y="224"/>
                    <a:pt x="278" y="233"/>
                    <a:pt x="289" y="233"/>
                  </a:cubicBezTo>
                  <a:close/>
                  <a:moveTo>
                    <a:pt x="289" y="203"/>
                  </a:moveTo>
                  <a:cubicBezTo>
                    <a:pt x="294" y="203"/>
                    <a:pt x="299" y="208"/>
                    <a:pt x="299" y="213"/>
                  </a:cubicBezTo>
                  <a:cubicBezTo>
                    <a:pt x="299" y="219"/>
                    <a:pt x="294" y="223"/>
                    <a:pt x="289" y="223"/>
                  </a:cubicBezTo>
                  <a:cubicBezTo>
                    <a:pt x="283" y="223"/>
                    <a:pt x="279" y="219"/>
                    <a:pt x="279" y="213"/>
                  </a:cubicBezTo>
                  <a:cubicBezTo>
                    <a:pt x="279" y="208"/>
                    <a:pt x="283" y="203"/>
                    <a:pt x="289" y="20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grpSp>
        <p:nvGrpSpPr>
          <p:cNvPr id="55" name="Gruppieren 54"/>
          <p:cNvGrpSpPr/>
          <p:nvPr/>
        </p:nvGrpSpPr>
        <p:grpSpPr>
          <a:xfrm>
            <a:off x="2306932" y="5141222"/>
            <a:ext cx="822960" cy="822960"/>
            <a:chOff x="3696640" y="5438478"/>
            <a:chExt cx="822960" cy="822960"/>
          </a:xfrm>
        </p:grpSpPr>
        <p:sp>
          <p:nvSpPr>
            <p:cNvPr id="12" name="Oval 8"/>
            <p:cNvSpPr>
              <a:spLocks noChangeArrowheads="1"/>
            </p:cNvSpPr>
            <p:nvPr/>
          </p:nvSpPr>
          <p:spPr bwMode="auto">
            <a:xfrm>
              <a:off x="3696640" y="5438478"/>
              <a:ext cx="822960" cy="822960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3" name="Freeform 35"/>
            <p:cNvSpPr>
              <a:spLocks noEditPoints="1"/>
            </p:cNvSpPr>
            <p:nvPr/>
          </p:nvSpPr>
          <p:spPr bwMode="auto">
            <a:xfrm>
              <a:off x="3896516" y="5696690"/>
              <a:ext cx="479897" cy="306536"/>
            </a:xfrm>
            <a:custGeom>
              <a:avLst/>
              <a:gdLst>
                <a:gd name="T0" fmla="*/ 353 w 416"/>
                <a:gd name="T1" fmla="*/ 108 h 266"/>
                <a:gd name="T2" fmla="*/ 248 w 416"/>
                <a:gd name="T3" fmla="*/ 0 h 266"/>
                <a:gd name="T4" fmla="*/ 160 w 416"/>
                <a:gd name="T5" fmla="*/ 49 h 266"/>
                <a:gd name="T6" fmla="*/ 137 w 416"/>
                <a:gd name="T7" fmla="*/ 45 h 266"/>
                <a:gd name="T8" fmla="*/ 71 w 416"/>
                <a:gd name="T9" fmla="*/ 106 h 266"/>
                <a:gd name="T10" fmla="*/ 0 w 416"/>
                <a:gd name="T11" fmla="*/ 186 h 266"/>
                <a:gd name="T12" fmla="*/ 77 w 416"/>
                <a:gd name="T13" fmla="*/ 266 h 266"/>
                <a:gd name="T14" fmla="*/ 344 w 416"/>
                <a:gd name="T15" fmla="*/ 266 h 266"/>
                <a:gd name="T16" fmla="*/ 344 w 416"/>
                <a:gd name="T17" fmla="*/ 266 h 266"/>
                <a:gd name="T18" fmla="*/ 416 w 416"/>
                <a:gd name="T19" fmla="*/ 186 h 266"/>
                <a:gd name="T20" fmla="*/ 353 w 416"/>
                <a:gd name="T21" fmla="*/ 108 h 266"/>
                <a:gd name="T22" fmla="*/ 344 w 416"/>
                <a:gd name="T23" fmla="*/ 257 h 266"/>
                <a:gd name="T24" fmla="*/ 77 w 416"/>
                <a:gd name="T25" fmla="*/ 257 h 266"/>
                <a:gd name="T26" fmla="*/ 9 w 416"/>
                <a:gd name="T27" fmla="*/ 186 h 266"/>
                <a:gd name="T28" fmla="*/ 75 w 416"/>
                <a:gd name="T29" fmla="*/ 115 h 266"/>
                <a:gd name="T30" fmla="*/ 80 w 416"/>
                <a:gd name="T31" fmla="*/ 110 h 266"/>
                <a:gd name="T32" fmla="*/ 137 w 416"/>
                <a:gd name="T33" fmla="*/ 55 h 266"/>
                <a:gd name="T34" fmla="*/ 161 w 416"/>
                <a:gd name="T35" fmla="*/ 59 h 266"/>
                <a:gd name="T36" fmla="*/ 166 w 416"/>
                <a:gd name="T37" fmla="*/ 57 h 266"/>
                <a:gd name="T38" fmla="*/ 248 w 416"/>
                <a:gd name="T39" fmla="*/ 9 h 266"/>
                <a:gd name="T40" fmla="*/ 344 w 416"/>
                <a:gd name="T41" fmla="*/ 112 h 266"/>
                <a:gd name="T42" fmla="*/ 348 w 416"/>
                <a:gd name="T43" fmla="*/ 117 h 266"/>
                <a:gd name="T44" fmla="*/ 406 w 416"/>
                <a:gd name="T45" fmla="*/ 186 h 266"/>
                <a:gd name="T46" fmla="*/ 344 w 416"/>
                <a:gd name="T47" fmla="*/ 257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16" h="266">
                  <a:moveTo>
                    <a:pt x="353" y="108"/>
                  </a:moveTo>
                  <a:cubicBezTo>
                    <a:pt x="350" y="48"/>
                    <a:pt x="303" y="0"/>
                    <a:pt x="248" y="0"/>
                  </a:cubicBezTo>
                  <a:cubicBezTo>
                    <a:pt x="213" y="0"/>
                    <a:pt x="181" y="18"/>
                    <a:pt x="160" y="49"/>
                  </a:cubicBezTo>
                  <a:cubicBezTo>
                    <a:pt x="153" y="47"/>
                    <a:pt x="145" y="45"/>
                    <a:pt x="137" y="45"/>
                  </a:cubicBezTo>
                  <a:cubicBezTo>
                    <a:pt x="101" y="45"/>
                    <a:pt x="73" y="72"/>
                    <a:pt x="71" y="106"/>
                  </a:cubicBezTo>
                  <a:cubicBezTo>
                    <a:pt x="31" y="110"/>
                    <a:pt x="0" y="145"/>
                    <a:pt x="0" y="186"/>
                  </a:cubicBezTo>
                  <a:cubicBezTo>
                    <a:pt x="0" y="231"/>
                    <a:pt x="34" y="266"/>
                    <a:pt x="77" y="266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344" y="266"/>
                    <a:pt x="344" y="266"/>
                    <a:pt x="344" y="266"/>
                  </a:cubicBezTo>
                  <a:cubicBezTo>
                    <a:pt x="384" y="264"/>
                    <a:pt x="416" y="228"/>
                    <a:pt x="416" y="186"/>
                  </a:cubicBezTo>
                  <a:cubicBezTo>
                    <a:pt x="416" y="147"/>
                    <a:pt x="390" y="115"/>
                    <a:pt x="353" y="108"/>
                  </a:cubicBezTo>
                  <a:close/>
                  <a:moveTo>
                    <a:pt x="344" y="257"/>
                  </a:moveTo>
                  <a:cubicBezTo>
                    <a:pt x="77" y="257"/>
                    <a:pt x="77" y="257"/>
                    <a:pt x="77" y="257"/>
                  </a:cubicBezTo>
                  <a:cubicBezTo>
                    <a:pt x="39" y="257"/>
                    <a:pt x="9" y="226"/>
                    <a:pt x="9" y="186"/>
                  </a:cubicBezTo>
                  <a:cubicBezTo>
                    <a:pt x="9" y="148"/>
                    <a:pt x="39" y="117"/>
                    <a:pt x="75" y="115"/>
                  </a:cubicBezTo>
                  <a:cubicBezTo>
                    <a:pt x="78" y="115"/>
                    <a:pt x="80" y="113"/>
                    <a:pt x="80" y="110"/>
                  </a:cubicBezTo>
                  <a:cubicBezTo>
                    <a:pt x="80" y="79"/>
                    <a:pt x="105" y="55"/>
                    <a:pt x="137" y="55"/>
                  </a:cubicBezTo>
                  <a:cubicBezTo>
                    <a:pt x="145" y="55"/>
                    <a:pt x="153" y="56"/>
                    <a:pt x="161" y="59"/>
                  </a:cubicBezTo>
                  <a:cubicBezTo>
                    <a:pt x="163" y="60"/>
                    <a:pt x="165" y="59"/>
                    <a:pt x="166" y="57"/>
                  </a:cubicBezTo>
                  <a:cubicBezTo>
                    <a:pt x="185" y="27"/>
                    <a:pt x="215" y="9"/>
                    <a:pt x="248" y="9"/>
                  </a:cubicBezTo>
                  <a:cubicBezTo>
                    <a:pt x="299" y="9"/>
                    <a:pt x="343" y="55"/>
                    <a:pt x="344" y="112"/>
                  </a:cubicBezTo>
                  <a:cubicBezTo>
                    <a:pt x="344" y="114"/>
                    <a:pt x="346" y="116"/>
                    <a:pt x="348" y="117"/>
                  </a:cubicBezTo>
                  <a:cubicBezTo>
                    <a:pt x="382" y="122"/>
                    <a:pt x="406" y="151"/>
                    <a:pt x="406" y="186"/>
                  </a:cubicBezTo>
                  <a:cubicBezTo>
                    <a:pt x="406" y="223"/>
                    <a:pt x="378" y="255"/>
                    <a:pt x="344" y="25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grpSp>
        <p:nvGrpSpPr>
          <p:cNvPr id="54" name="Gruppieren 53"/>
          <p:cNvGrpSpPr/>
          <p:nvPr/>
        </p:nvGrpSpPr>
        <p:grpSpPr>
          <a:xfrm>
            <a:off x="9514594" y="5526945"/>
            <a:ext cx="822960" cy="822960"/>
            <a:chOff x="9912424" y="4839340"/>
            <a:chExt cx="822960" cy="822960"/>
          </a:xfrm>
        </p:grpSpPr>
        <p:sp>
          <p:nvSpPr>
            <p:cNvPr id="18" name="Oval 14"/>
            <p:cNvSpPr>
              <a:spLocks noChangeArrowheads="1"/>
            </p:cNvSpPr>
            <p:nvPr/>
          </p:nvSpPr>
          <p:spPr bwMode="auto">
            <a:xfrm>
              <a:off x="9912424" y="4839340"/>
              <a:ext cx="822960" cy="822960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9" name="Freeform 22"/>
            <p:cNvSpPr>
              <a:spLocks noEditPoints="1"/>
            </p:cNvSpPr>
            <p:nvPr/>
          </p:nvSpPr>
          <p:spPr bwMode="auto">
            <a:xfrm>
              <a:off x="10075551" y="5063161"/>
              <a:ext cx="497195" cy="375317"/>
            </a:xfrm>
            <a:custGeom>
              <a:avLst/>
              <a:gdLst>
                <a:gd name="T0" fmla="*/ 267 w 431"/>
                <a:gd name="T1" fmla="*/ 136 h 325"/>
                <a:gd name="T2" fmla="*/ 370 w 431"/>
                <a:gd name="T3" fmla="*/ 185 h 325"/>
                <a:gd name="T4" fmla="*/ 267 w 431"/>
                <a:gd name="T5" fmla="*/ 239 h 325"/>
                <a:gd name="T6" fmla="*/ 265 w 431"/>
                <a:gd name="T7" fmla="*/ 245 h 325"/>
                <a:gd name="T8" fmla="*/ 269 w 431"/>
                <a:gd name="T9" fmla="*/ 248 h 325"/>
                <a:gd name="T10" fmla="*/ 271 w 431"/>
                <a:gd name="T11" fmla="*/ 247 h 325"/>
                <a:gd name="T12" fmla="*/ 383 w 431"/>
                <a:gd name="T13" fmla="*/ 188 h 325"/>
                <a:gd name="T14" fmla="*/ 386 w 431"/>
                <a:gd name="T15" fmla="*/ 184 h 325"/>
                <a:gd name="T16" fmla="*/ 383 w 431"/>
                <a:gd name="T17" fmla="*/ 180 h 325"/>
                <a:gd name="T18" fmla="*/ 271 w 431"/>
                <a:gd name="T19" fmla="*/ 128 h 325"/>
                <a:gd name="T20" fmla="*/ 265 w 431"/>
                <a:gd name="T21" fmla="*/ 130 h 325"/>
                <a:gd name="T22" fmla="*/ 267 w 431"/>
                <a:gd name="T23" fmla="*/ 136 h 325"/>
                <a:gd name="T24" fmla="*/ 202 w 431"/>
                <a:gd name="T25" fmla="*/ 268 h 325"/>
                <a:gd name="T26" fmla="*/ 203 w 431"/>
                <a:gd name="T27" fmla="*/ 268 h 325"/>
                <a:gd name="T28" fmla="*/ 207 w 431"/>
                <a:gd name="T29" fmla="*/ 265 h 325"/>
                <a:gd name="T30" fmla="*/ 252 w 431"/>
                <a:gd name="T31" fmla="*/ 113 h 325"/>
                <a:gd name="T32" fmla="*/ 248 w 431"/>
                <a:gd name="T33" fmla="*/ 107 h 325"/>
                <a:gd name="T34" fmla="*/ 243 w 431"/>
                <a:gd name="T35" fmla="*/ 110 h 325"/>
                <a:gd name="T36" fmla="*/ 198 w 431"/>
                <a:gd name="T37" fmla="*/ 262 h 325"/>
                <a:gd name="T38" fmla="*/ 202 w 431"/>
                <a:gd name="T39" fmla="*/ 268 h 325"/>
                <a:gd name="T40" fmla="*/ 386 w 431"/>
                <a:gd name="T41" fmla="*/ 0 h 325"/>
                <a:gd name="T42" fmla="*/ 46 w 431"/>
                <a:gd name="T43" fmla="*/ 0 h 325"/>
                <a:gd name="T44" fmla="*/ 0 w 431"/>
                <a:gd name="T45" fmla="*/ 47 h 325"/>
                <a:gd name="T46" fmla="*/ 0 w 431"/>
                <a:gd name="T47" fmla="*/ 320 h 325"/>
                <a:gd name="T48" fmla="*/ 5 w 431"/>
                <a:gd name="T49" fmla="*/ 325 h 325"/>
                <a:gd name="T50" fmla="*/ 427 w 431"/>
                <a:gd name="T51" fmla="*/ 325 h 325"/>
                <a:gd name="T52" fmla="*/ 431 w 431"/>
                <a:gd name="T53" fmla="*/ 320 h 325"/>
                <a:gd name="T54" fmla="*/ 431 w 431"/>
                <a:gd name="T55" fmla="*/ 47 h 325"/>
                <a:gd name="T56" fmla="*/ 386 w 431"/>
                <a:gd name="T57" fmla="*/ 0 h 325"/>
                <a:gd name="T58" fmla="*/ 422 w 431"/>
                <a:gd name="T59" fmla="*/ 315 h 325"/>
                <a:gd name="T60" fmla="*/ 9 w 431"/>
                <a:gd name="T61" fmla="*/ 315 h 325"/>
                <a:gd name="T62" fmla="*/ 9 w 431"/>
                <a:gd name="T63" fmla="*/ 64 h 325"/>
                <a:gd name="T64" fmla="*/ 422 w 431"/>
                <a:gd name="T65" fmla="*/ 64 h 325"/>
                <a:gd name="T66" fmla="*/ 422 w 431"/>
                <a:gd name="T67" fmla="*/ 315 h 325"/>
                <a:gd name="T68" fmla="*/ 422 w 431"/>
                <a:gd name="T69" fmla="*/ 55 h 325"/>
                <a:gd name="T70" fmla="*/ 9 w 431"/>
                <a:gd name="T71" fmla="*/ 55 h 325"/>
                <a:gd name="T72" fmla="*/ 9 w 431"/>
                <a:gd name="T73" fmla="*/ 47 h 325"/>
                <a:gd name="T74" fmla="*/ 46 w 431"/>
                <a:gd name="T75" fmla="*/ 9 h 325"/>
                <a:gd name="T76" fmla="*/ 386 w 431"/>
                <a:gd name="T77" fmla="*/ 9 h 325"/>
                <a:gd name="T78" fmla="*/ 422 w 431"/>
                <a:gd name="T79" fmla="*/ 47 h 325"/>
                <a:gd name="T80" fmla="*/ 422 w 431"/>
                <a:gd name="T81" fmla="*/ 55 h 325"/>
                <a:gd name="T82" fmla="*/ 67 w 431"/>
                <a:gd name="T83" fmla="*/ 195 h 325"/>
                <a:gd name="T84" fmla="*/ 179 w 431"/>
                <a:gd name="T85" fmla="*/ 247 h 325"/>
                <a:gd name="T86" fmla="*/ 181 w 431"/>
                <a:gd name="T87" fmla="*/ 248 h 325"/>
                <a:gd name="T88" fmla="*/ 185 w 431"/>
                <a:gd name="T89" fmla="*/ 245 h 325"/>
                <a:gd name="T90" fmla="*/ 183 w 431"/>
                <a:gd name="T91" fmla="*/ 239 h 325"/>
                <a:gd name="T92" fmla="*/ 80 w 431"/>
                <a:gd name="T93" fmla="*/ 191 h 325"/>
                <a:gd name="T94" fmla="*/ 183 w 431"/>
                <a:gd name="T95" fmla="*/ 136 h 325"/>
                <a:gd name="T96" fmla="*/ 185 w 431"/>
                <a:gd name="T97" fmla="*/ 130 h 325"/>
                <a:gd name="T98" fmla="*/ 179 w 431"/>
                <a:gd name="T99" fmla="*/ 128 h 325"/>
                <a:gd name="T100" fmla="*/ 67 w 431"/>
                <a:gd name="T101" fmla="*/ 187 h 325"/>
                <a:gd name="T102" fmla="*/ 64 w 431"/>
                <a:gd name="T103" fmla="*/ 191 h 325"/>
                <a:gd name="T104" fmla="*/ 67 w 431"/>
                <a:gd name="T105" fmla="*/ 195 h 3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431" h="325">
                  <a:moveTo>
                    <a:pt x="267" y="136"/>
                  </a:moveTo>
                  <a:cubicBezTo>
                    <a:pt x="370" y="185"/>
                    <a:pt x="370" y="185"/>
                    <a:pt x="370" y="185"/>
                  </a:cubicBezTo>
                  <a:cubicBezTo>
                    <a:pt x="267" y="239"/>
                    <a:pt x="267" y="239"/>
                    <a:pt x="267" y="239"/>
                  </a:cubicBezTo>
                  <a:cubicBezTo>
                    <a:pt x="265" y="240"/>
                    <a:pt x="264" y="243"/>
                    <a:pt x="265" y="245"/>
                  </a:cubicBezTo>
                  <a:cubicBezTo>
                    <a:pt x="266" y="247"/>
                    <a:pt x="268" y="248"/>
                    <a:pt x="269" y="248"/>
                  </a:cubicBezTo>
                  <a:cubicBezTo>
                    <a:pt x="270" y="248"/>
                    <a:pt x="271" y="248"/>
                    <a:pt x="271" y="247"/>
                  </a:cubicBezTo>
                  <a:cubicBezTo>
                    <a:pt x="383" y="188"/>
                    <a:pt x="383" y="188"/>
                    <a:pt x="383" y="188"/>
                  </a:cubicBezTo>
                  <a:cubicBezTo>
                    <a:pt x="385" y="188"/>
                    <a:pt x="386" y="186"/>
                    <a:pt x="386" y="184"/>
                  </a:cubicBezTo>
                  <a:cubicBezTo>
                    <a:pt x="386" y="182"/>
                    <a:pt x="385" y="181"/>
                    <a:pt x="383" y="180"/>
                  </a:cubicBezTo>
                  <a:cubicBezTo>
                    <a:pt x="271" y="128"/>
                    <a:pt x="271" y="128"/>
                    <a:pt x="271" y="128"/>
                  </a:cubicBezTo>
                  <a:cubicBezTo>
                    <a:pt x="269" y="127"/>
                    <a:pt x="266" y="128"/>
                    <a:pt x="265" y="130"/>
                  </a:cubicBezTo>
                  <a:cubicBezTo>
                    <a:pt x="264" y="132"/>
                    <a:pt x="265" y="135"/>
                    <a:pt x="267" y="136"/>
                  </a:cubicBezTo>
                  <a:close/>
                  <a:moveTo>
                    <a:pt x="202" y="268"/>
                  </a:moveTo>
                  <a:cubicBezTo>
                    <a:pt x="202" y="268"/>
                    <a:pt x="202" y="268"/>
                    <a:pt x="203" y="268"/>
                  </a:cubicBezTo>
                  <a:cubicBezTo>
                    <a:pt x="205" y="268"/>
                    <a:pt x="207" y="267"/>
                    <a:pt x="207" y="265"/>
                  </a:cubicBezTo>
                  <a:cubicBezTo>
                    <a:pt x="252" y="113"/>
                    <a:pt x="252" y="113"/>
                    <a:pt x="252" y="113"/>
                  </a:cubicBezTo>
                  <a:cubicBezTo>
                    <a:pt x="252" y="111"/>
                    <a:pt x="251" y="108"/>
                    <a:pt x="248" y="107"/>
                  </a:cubicBezTo>
                  <a:cubicBezTo>
                    <a:pt x="246" y="106"/>
                    <a:pt x="243" y="108"/>
                    <a:pt x="243" y="110"/>
                  </a:cubicBezTo>
                  <a:cubicBezTo>
                    <a:pt x="198" y="262"/>
                    <a:pt x="198" y="262"/>
                    <a:pt x="198" y="262"/>
                  </a:cubicBezTo>
                  <a:cubicBezTo>
                    <a:pt x="198" y="265"/>
                    <a:pt x="199" y="267"/>
                    <a:pt x="202" y="268"/>
                  </a:cubicBezTo>
                  <a:close/>
                  <a:moveTo>
                    <a:pt x="386" y="0"/>
                  </a:moveTo>
                  <a:cubicBezTo>
                    <a:pt x="46" y="0"/>
                    <a:pt x="46" y="0"/>
                    <a:pt x="46" y="0"/>
                  </a:cubicBezTo>
                  <a:cubicBezTo>
                    <a:pt x="21" y="0"/>
                    <a:pt x="0" y="21"/>
                    <a:pt x="0" y="47"/>
                  </a:cubicBezTo>
                  <a:cubicBezTo>
                    <a:pt x="0" y="320"/>
                    <a:pt x="0" y="320"/>
                    <a:pt x="0" y="320"/>
                  </a:cubicBezTo>
                  <a:cubicBezTo>
                    <a:pt x="0" y="323"/>
                    <a:pt x="2" y="325"/>
                    <a:pt x="5" y="325"/>
                  </a:cubicBezTo>
                  <a:cubicBezTo>
                    <a:pt x="427" y="325"/>
                    <a:pt x="427" y="325"/>
                    <a:pt x="427" y="325"/>
                  </a:cubicBezTo>
                  <a:cubicBezTo>
                    <a:pt x="429" y="325"/>
                    <a:pt x="431" y="323"/>
                    <a:pt x="431" y="320"/>
                  </a:cubicBezTo>
                  <a:cubicBezTo>
                    <a:pt x="431" y="47"/>
                    <a:pt x="431" y="47"/>
                    <a:pt x="431" y="47"/>
                  </a:cubicBezTo>
                  <a:cubicBezTo>
                    <a:pt x="431" y="21"/>
                    <a:pt x="411" y="0"/>
                    <a:pt x="386" y="0"/>
                  </a:cubicBezTo>
                  <a:close/>
                  <a:moveTo>
                    <a:pt x="422" y="315"/>
                  </a:moveTo>
                  <a:cubicBezTo>
                    <a:pt x="9" y="315"/>
                    <a:pt x="9" y="315"/>
                    <a:pt x="9" y="315"/>
                  </a:cubicBezTo>
                  <a:cubicBezTo>
                    <a:pt x="9" y="64"/>
                    <a:pt x="9" y="64"/>
                    <a:pt x="9" y="64"/>
                  </a:cubicBezTo>
                  <a:cubicBezTo>
                    <a:pt x="422" y="64"/>
                    <a:pt x="422" y="64"/>
                    <a:pt x="422" y="64"/>
                  </a:cubicBezTo>
                  <a:lnTo>
                    <a:pt x="422" y="315"/>
                  </a:lnTo>
                  <a:close/>
                  <a:moveTo>
                    <a:pt x="422" y="55"/>
                  </a:moveTo>
                  <a:cubicBezTo>
                    <a:pt x="9" y="55"/>
                    <a:pt x="9" y="55"/>
                    <a:pt x="9" y="55"/>
                  </a:cubicBezTo>
                  <a:cubicBezTo>
                    <a:pt x="9" y="47"/>
                    <a:pt x="9" y="47"/>
                    <a:pt x="9" y="47"/>
                  </a:cubicBezTo>
                  <a:cubicBezTo>
                    <a:pt x="9" y="26"/>
                    <a:pt x="26" y="9"/>
                    <a:pt x="46" y="9"/>
                  </a:cubicBezTo>
                  <a:cubicBezTo>
                    <a:pt x="386" y="9"/>
                    <a:pt x="386" y="9"/>
                    <a:pt x="386" y="9"/>
                  </a:cubicBezTo>
                  <a:cubicBezTo>
                    <a:pt x="406" y="9"/>
                    <a:pt x="422" y="26"/>
                    <a:pt x="422" y="47"/>
                  </a:cubicBezTo>
                  <a:lnTo>
                    <a:pt x="422" y="55"/>
                  </a:lnTo>
                  <a:close/>
                  <a:moveTo>
                    <a:pt x="67" y="195"/>
                  </a:moveTo>
                  <a:cubicBezTo>
                    <a:pt x="179" y="247"/>
                    <a:pt x="179" y="247"/>
                    <a:pt x="179" y="247"/>
                  </a:cubicBezTo>
                  <a:cubicBezTo>
                    <a:pt x="179" y="248"/>
                    <a:pt x="180" y="248"/>
                    <a:pt x="181" y="248"/>
                  </a:cubicBezTo>
                  <a:cubicBezTo>
                    <a:pt x="182" y="248"/>
                    <a:pt x="184" y="247"/>
                    <a:pt x="185" y="245"/>
                  </a:cubicBezTo>
                  <a:cubicBezTo>
                    <a:pt x="186" y="243"/>
                    <a:pt x="185" y="240"/>
                    <a:pt x="183" y="239"/>
                  </a:cubicBezTo>
                  <a:cubicBezTo>
                    <a:pt x="80" y="191"/>
                    <a:pt x="80" y="191"/>
                    <a:pt x="80" y="191"/>
                  </a:cubicBezTo>
                  <a:cubicBezTo>
                    <a:pt x="183" y="136"/>
                    <a:pt x="183" y="136"/>
                    <a:pt x="183" y="136"/>
                  </a:cubicBezTo>
                  <a:cubicBezTo>
                    <a:pt x="185" y="135"/>
                    <a:pt x="186" y="132"/>
                    <a:pt x="185" y="130"/>
                  </a:cubicBezTo>
                  <a:cubicBezTo>
                    <a:pt x="184" y="127"/>
                    <a:pt x="181" y="127"/>
                    <a:pt x="179" y="128"/>
                  </a:cubicBezTo>
                  <a:cubicBezTo>
                    <a:pt x="67" y="187"/>
                    <a:pt x="67" y="187"/>
                    <a:pt x="67" y="187"/>
                  </a:cubicBezTo>
                  <a:cubicBezTo>
                    <a:pt x="65" y="188"/>
                    <a:pt x="64" y="189"/>
                    <a:pt x="64" y="191"/>
                  </a:cubicBezTo>
                  <a:cubicBezTo>
                    <a:pt x="64" y="193"/>
                    <a:pt x="65" y="194"/>
                    <a:pt x="67" y="19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grpSp>
        <p:nvGrpSpPr>
          <p:cNvPr id="53" name="Gruppieren 52"/>
          <p:cNvGrpSpPr/>
          <p:nvPr/>
        </p:nvGrpSpPr>
        <p:grpSpPr>
          <a:xfrm>
            <a:off x="7020237" y="5323505"/>
            <a:ext cx="822960" cy="822960"/>
            <a:chOff x="7680176" y="5473667"/>
            <a:chExt cx="822960" cy="822960"/>
          </a:xfrm>
        </p:grpSpPr>
        <p:sp>
          <p:nvSpPr>
            <p:cNvPr id="16" name="Oval 23"/>
            <p:cNvSpPr>
              <a:spLocks noChangeArrowheads="1"/>
            </p:cNvSpPr>
            <p:nvPr/>
          </p:nvSpPr>
          <p:spPr bwMode="auto">
            <a:xfrm>
              <a:off x="7680176" y="5473667"/>
              <a:ext cx="822960" cy="822960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7" name="Freeform 41"/>
            <p:cNvSpPr>
              <a:spLocks noEditPoints="1"/>
            </p:cNvSpPr>
            <p:nvPr/>
          </p:nvSpPr>
          <p:spPr bwMode="auto">
            <a:xfrm>
              <a:off x="7902888" y="5654972"/>
              <a:ext cx="377536" cy="459372"/>
            </a:xfrm>
            <a:custGeom>
              <a:avLst/>
              <a:gdLst>
                <a:gd name="T0" fmla="*/ 248 w 327"/>
                <a:gd name="T1" fmla="*/ 2 h 398"/>
                <a:gd name="T2" fmla="*/ 248 w 327"/>
                <a:gd name="T3" fmla="*/ 2 h 398"/>
                <a:gd name="T4" fmla="*/ 247 w 327"/>
                <a:gd name="T5" fmla="*/ 1 h 398"/>
                <a:gd name="T6" fmla="*/ 246 w 327"/>
                <a:gd name="T7" fmla="*/ 0 h 398"/>
                <a:gd name="T8" fmla="*/ 5 w 327"/>
                <a:gd name="T9" fmla="*/ 7 h 398"/>
                <a:gd name="T10" fmla="*/ 0 w 327"/>
                <a:gd name="T11" fmla="*/ 387 h 398"/>
                <a:gd name="T12" fmla="*/ 244 w 327"/>
                <a:gd name="T13" fmla="*/ 398 h 398"/>
                <a:gd name="T14" fmla="*/ 245 w 327"/>
                <a:gd name="T15" fmla="*/ 398 h 398"/>
                <a:gd name="T16" fmla="*/ 246 w 327"/>
                <a:gd name="T17" fmla="*/ 398 h 398"/>
                <a:gd name="T18" fmla="*/ 247 w 327"/>
                <a:gd name="T19" fmla="*/ 398 h 398"/>
                <a:gd name="T20" fmla="*/ 247 w 327"/>
                <a:gd name="T21" fmla="*/ 397 h 398"/>
                <a:gd name="T22" fmla="*/ 248 w 327"/>
                <a:gd name="T23" fmla="*/ 397 h 398"/>
                <a:gd name="T24" fmla="*/ 326 w 327"/>
                <a:gd name="T25" fmla="*/ 319 h 398"/>
                <a:gd name="T26" fmla="*/ 327 w 327"/>
                <a:gd name="T27" fmla="*/ 83 h 398"/>
                <a:gd name="T28" fmla="*/ 240 w 327"/>
                <a:gd name="T29" fmla="*/ 389 h 398"/>
                <a:gd name="T30" fmla="*/ 10 w 327"/>
                <a:gd name="T31" fmla="*/ 16 h 398"/>
                <a:gd name="T32" fmla="*/ 240 w 327"/>
                <a:gd name="T33" fmla="*/ 389 h 398"/>
                <a:gd name="T34" fmla="*/ 249 w 327"/>
                <a:gd name="T35" fmla="*/ 382 h 398"/>
                <a:gd name="T36" fmla="*/ 318 w 327"/>
                <a:gd name="T37" fmla="*/ 85 h 398"/>
                <a:gd name="T38" fmla="*/ 50 w 327"/>
                <a:gd name="T39" fmla="*/ 175 h 398"/>
                <a:gd name="T40" fmla="*/ 197 w 327"/>
                <a:gd name="T41" fmla="*/ 175 h 398"/>
                <a:gd name="T42" fmla="*/ 202 w 327"/>
                <a:gd name="T43" fmla="*/ 111 h 398"/>
                <a:gd name="T44" fmla="*/ 200 w 327"/>
                <a:gd name="T45" fmla="*/ 49 h 398"/>
                <a:gd name="T46" fmla="*/ 50 w 327"/>
                <a:gd name="T47" fmla="*/ 51 h 398"/>
                <a:gd name="T48" fmla="*/ 45 w 327"/>
                <a:gd name="T49" fmla="*/ 113 h 398"/>
                <a:gd name="T50" fmla="*/ 46 w 327"/>
                <a:gd name="T51" fmla="*/ 174 h 398"/>
                <a:gd name="T52" fmla="*/ 54 w 327"/>
                <a:gd name="T53" fmla="*/ 60 h 398"/>
                <a:gd name="T54" fmla="*/ 192 w 327"/>
                <a:gd name="T55" fmla="*/ 107 h 398"/>
                <a:gd name="T56" fmla="*/ 54 w 327"/>
                <a:gd name="T57" fmla="*/ 60 h 398"/>
                <a:gd name="T58" fmla="*/ 192 w 327"/>
                <a:gd name="T59" fmla="*/ 116 h 398"/>
                <a:gd name="T60" fmla="*/ 54 w 327"/>
                <a:gd name="T61" fmla="*/ 166 h 398"/>
                <a:gd name="T62" fmla="*/ 123 w 327"/>
                <a:gd name="T63" fmla="*/ 224 h 398"/>
                <a:gd name="T64" fmla="*/ 123 w 327"/>
                <a:gd name="T65" fmla="*/ 278 h 398"/>
                <a:gd name="T66" fmla="*/ 150 w 327"/>
                <a:gd name="T67" fmla="*/ 251 h 398"/>
                <a:gd name="T68" fmla="*/ 123 w 327"/>
                <a:gd name="T69" fmla="*/ 269 h 398"/>
                <a:gd name="T70" fmla="*/ 123 w 327"/>
                <a:gd name="T71" fmla="*/ 269 h 398"/>
                <a:gd name="T72" fmla="*/ 123 w 327"/>
                <a:gd name="T73" fmla="*/ 233 h 398"/>
                <a:gd name="T74" fmla="*/ 123 w 327"/>
                <a:gd name="T75" fmla="*/ 269 h 398"/>
                <a:gd name="T76" fmla="*/ 122 w 327"/>
                <a:gd name="T77" fmla="*/ 288 h 398"/>
                <a:gd name="T78" fmla="*/ 123 w 327"/>
                <a:gd name="T79" fmla="*/ 342 h 398"/>
                <a:gd name="T80" fmla="*/ 150 w 327"/>
                <a:gd name="T81" fmla="*/ 315 h 398"/>
                <a:gd name="T82" fmla="*/ 123 w 327"/>
                <a:gd name="T83" fmla="*/ 332 h 398"/>
                <a:gd name="T84" fmla="*/ 105 w 327"/>
                <a:gd name="T85" fmla="*/ 314 h 398"/>
                <a:gd name="T86" fmla="*/ 123 w 327"/>
                <a:gd name="T87" fmla="*/ 297 h 398"/>
                <a:gd name="T88" fmla="*/ 123 w 327"/>
                <a:gd name="T89" fmla="*/ 332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327" h="398">
                  <a:moveTo>
                    <a:pt x="326" y="80"/>
                  </a:moveTo>
                  <a:cubicBezTo>
                    <a:pt x="248" y="2"/>
                    <a:pt x="248" y="2"/>
                    <a:pt x="248" y="2"/>
                  </a:cubicBezTo>
                  <a:cubicBezTo>
                    <a:pt x="248" y="2"/>
                    <a:pt x="248" y="2"/>
                    <a:pt x="248" y="2"/>
                  </a:cubicBezTo>
                  <a:cubicBezTo>
                    <a:pt x="248" y="2"/>
                    <a:pt x="248" y="2"/>
                    <a:pt x="248" y="2"/>
                  </a:cubicBezTo>
                  <a:cubicBezTo>
                    <a:pt x="248" y="1"/>
                    <a:pt x="247" y="1"/>
                    <a:pt x="247" y="1"/>
                  </a:cubicBezTo>
                  <a:cubicBezTo>
                    <a:pt x="247" y="1"/>
                    <a:pt x="247" y="1"/>
                    <a:pt x="247" y="1"/>
                  </a:cubicBezTo>
                  <a:cubicBezTo>
                    <a:pt x="246" y="1"/>
                    <a:pt x="246" y="0"/>
                    <a:pt x="246" y="0"/>
                  </a:cubicBezTo>
                  <a:cubicBezTo>
                    <a:pt x="246" y="0"/>
                    <a:pt x="246" y="0"/>
                    <a:pt x="246" y="0"/>
                  </a:cubicBezTo>
                  <a:cubicBezTo>
                    <a:pt x="245" y="0"/>
                    <a:pt x="245" y="0"/>
                    <a:pt x="244" y="0"/>
                  </a:cubicBezTo>
                  <a:cubicBezTo>
                    <a:pt x="5" y="7"/>
                    <a:pt x="5" y="7"/>
                    <a:pt x="5" y="7"/>
                  </a:cubicBezTo>
                  <a:cubicBezTo>
                    <a:pt x="2" y="7"/>
                    <a:pt x="0" y="9"/>
                    <a:pt x="0" y="12"/>
                  </a:cubicBezTo>
                  <a:cubicBezTo>
                    <a:pt x="0" y="387"/>
                    <a:pt x="0" y="387"/>
                    <a:pt x="0" y="387"/>
                  </a:cubicBezTo>
                  <a:cubicBezTo>
                    <a:pt x="0" y="389"/>
                    <a:pt x="2" y="392"/>
                    <a:pt x="5" y="392"/>
                  </a:cubicBezTo>
                  <a:cubicBezTo>
                    <a:pt x="244" y="398"/>
                    <a:pt x="244" y="398"/>
                    <a:pt x="244" y="398"/>
                  </a:cubicBezTo>
                  <a:cubicBezTo>
                    <a:pt x="245" y="398"/>
                    <a:pt x="245" y="398"/>
                    <a:pt x="245" y="398"/>
                  </a:cubicBezTo>
                  <a:cubicBezTo>
                    <a:pt x="245" y="398"/>
                    <a:pt x="245" y="398"/>
                    <a:pt x="245" y="398"/>
                  </a:cubicBezTo>
                  <a:cubicBezTo>
                    <a:pt x="245" y="398"/>
                    <a:pt x="245" y="398"/>
                    <a:pt x="246" y="398"/>
                  </a:cubicBezTo>
                  <a:cubicBezTo>
                    <a:pt x="246" y="398"/>
                    <a:pt x="246" y="398"/>
                    <a:pt x="246" y="398"/>
                  </a:cubicBezTo>
                  <a:cubicBezTo>
                    <a:pt x="246" y="398"/>
                    <a:pt x="246" y="398"/>
                    <a:pt x="246" y="398"/>
                  </a:cubicBezTo>
                  <a:cubicBezTo>
                    <a:pt x="246" y="398"/>
                    <a:pt x="247" y="398"/>
                    <a:pt x="247" y="398"/>
                  </a:cubicBezTo>
                  <a:cubicBezTo>
                    <a:pt x="247" y="398"/>
                    <a:pt x="247" y="398"/>
                    <a:pt x="247" y="398"/>
                  </a:cubicBezTo>
                  <a:cubicBezTo>
                    <a:pt x="247" y="398"/>
                    <a:pt x="247" y="398"/>
                    <a:pt x="247" y="397"/>
                  </a:cubicBezTo>
                  <a:cubicBezTo>
                    <a:pt x="248" y="397"/>
                    <a:pt x="248" y="397"/>
                    <a:pt x="248" y="397"/>
                  </a:cubicBezTo>
                  <a:cubicBezTo>
                    <a:pt x="248" y="397"/>
                    <a:pt x="248" y="397"/>
                    <a:pt x="248" y="397"/>
                  </a:cubicBezTo>
                  <a:cubicBezTo>
                    <a:pt x="248" y="397"/>
                    <a:pt x="248" y="397"/>
                    <a:pt x="248" y="397"/>
                  </a:cubicBezTo>
                  <a:cubicBezTo>
                    <a:pt x="326" y="319"/>
                    <a:pt x="326" y="319"/>
                    <a:pt x="326" y="319"/>
                  </a:cubicBezTo>
                  <a:cubicBezTo>
                    <a:pt x="327" y="318"/>
                    <a:pt x="327" y="317"/>
                    <a:pt x="327" y="315"/>
                  </a:cubicBezTo>
                  <a:cubicBezTo>
                    <a:pt x="327" y="83"/>
                    <a:pt x="327" y="83"/>
                    <a:pt x="327" y="83"/>
                  </a:cubicBezTo>
                  <a:cubicBezTo>
                    <a:pt x="327" y="82"/>
                    <a:pt x="327" y="81"/>
                    <a:pt x="326" y="80"/>
                  </a:cubicBezTo>
                  <a:close/>
                  <a:moveTo>
                    <a:pt x="240" y="389"/>
                  </a:moveTo>
                  <a:cubicBezTo>
                    <a:pt x="10" y="382"/>
                    <a:pt x="10" y="382"/>
                    <a:pt x="10" y="382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240" y="10"/>
                    <a:pt x="240" y="10"/>
                    <a:pt x="240" y="10"/>
                  </a:cubicBezTo>
                  <a:lnTo>
                    <a:pt x="240" y="389"/>
                  </a:lnTo>
                  <a:close/>
                  <a:moveTo>
                    <a:pt x="318" y="313"/>
                  </a:moveTo>
                  <a:cubicBezTo>
                    <a:pt x="249" y="382"/>
                    <a:pt x="249" y="382"/>
                    <a:pt x="249" y="382"/>
                  </a:cubicBezTo>
                  <a:cubicBezTo>
                    <a:pt x="249" y="16"/>
                    <a:pt x="249" y="16"/>
                    <a:pt x="249" y="16"/>
                  </a:cubicBezTo>
                  <a:cubicBezTo>
                    <a:pt x="318" y="85"/>
                    <a:pt x="318" y="85"/>
                    <a:pt x="318" y="85"/>
                  </a:cubicBezTo>
                  <a:lnTo>
                    <a:pt x="318" y="313"/>
                  </a:lnTo>
                  <a:close/>
                  <a:moveTo>
                    <a:pt x="50" y="175"/>
                  </a:moveTo>
                  <a:cubicBezTo>
                    <a:pt x="50" y="175"/>
                    <a:pt x="50" y="175"/>
                    <a:pt x="50" y="175"/>
                  </a:cubicBezTo>
                  <a:cubicBezTo>
                    <a:pt x="197" y="175"/>
                    <a:pt x="197" y="175"/>
                    <a:pt x="197" y="175"/>
                  </a:cubicBezTo>
                  <a:cubicBezTo>
                    <a:pt x="200" y="175"/>
                    <a:pt x="202" y="173"/>
                    <a:pt x="202" y="170"/>
                  </a:cubicBezTo>
                  <a:cubicBezTo>
                    <a:pt x="202" y="111"/>
                    <a:pt x="202" y="111"/>
                    <a:pt x="202" y="111"/>
                  </a:cubicBezTo>
                  <a:cubicBezTo>
                    <a:pt x="202" y="52"/>
                    <a:pt x="202" y="52"/>
                    <a:pt x="202" y="52"/>
                  </a:cubicBezTo>
                  <a:cubicBezTo>
                    <a:pt x="202" y="51"/>
                    <a:pt x="201" y="50"/>
                    <a:pt x="200" y="49"/>
                  </a:cubicBezTo>
                  <a:cubicBezTo>
                    <a:pt x="199" y="48"/>
                    <a:pt x="198" y="48"/>
                    <a:pt x="197" y="48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47" y="51"/>
                    <a:pt x="45" y="53"/>
                    <a:pt x="45" y="55"/>
                  </a:cubicBezTo>
                  <a:cubicBezTo>
                    <a:pt x="45" y="113"/>
                    <a:pt x="45" y="113"/>
                    <a:pt x="45" y="113"/>
                  </a:cubicBezTo>
                  <a:cubicBezTo>
                    <a:pt x="45" y="171"/>
                    <a:pt x="45" y="171"/>
                    <a:pt x="45" y="171"/>
                  </a:cubicBezTo>
                  <a:cubicBezTo>
                    <a:pt x="45" y="172"/>
                    <a:pt x="46" y="173"/>
                    <a:pt x="46" y="174"/>
                  </a:cubicBezTo>
                  <a:cubicBezTo>
                    <a:pt x="47" y="175"/>
                    <a:pt x="49" y="175"/>
                    <a:pt x="50" y="175"/>
                  </a:cubicBezTo>
                  <a:close/>
                  <a:moveTo>
                    <a:pt x="54" y="60"/>
                  </a:moveTo>
                  <a:cubicBezTo>
                    <a:pt x="192" y="57"/>
                    <a:pt x="192" y="57"/>
                    <a:pt x="192" y="57"/>
                  </a:cubicBezTo>
                  <a:cubicBezTo>
                    <a:pt x="192" y="107"/>
                    <a:pt x="192" y="107"/>
                    <a:pt x="192" y="107"/>
                  </a:cubicBezTo>
                  <a:cubicBezTo>
                    <a:pt x="54" y="108"/>
                    <a:pt x="54" y="108"/>
                    <a:pt x="54" y="108"/>
                  </a:cubicBezTo>
                  <a:lnTo>
                    <a:pt x="54" y="60"/>
                  </a:lnTo>
                  <a:close/>
                  <a:moveTo>
                    <a:pt x="54" y="118"/>
                  </a:moveTo>
                  <a:cubicBezTo>
                    <a:pt x="192" y="116"/>
                    <a:pt x="192" y="116"/>
                    <a:pt x="192" y="116"/>
                  </a:cubicBezTo>
                  <a:cubicBezTo>
                    <a:pt x="192" y="165"/>
                    <a:pt x="192" y="165"/>
                    <a:pt x="192" y="165"/>
                  </a:cubicBezTo>
                  <a:cubicBezTo>
                    <a:pt x="54" y="166"/>
                    <a:pt x="54" y="166"/>
                    <a:pt x="54" y="166"/>
                  </a:cubicBezTo>
                  <a:lnTo>
                    <a:pt x="54" y="118"/>
                  </a:lnTo>
                  <a:close/>
                  <a:moveTo>
                    <a:pt x="123" y="224"/>
                  </a:moveTo>
                  <a:cubicBezTo>
                    <a:pt x="107" y="224"/>
                    <a:pt x="95" y="236"/>
                    <a:pt x="95" y="251"/>
                  </a:cubicBezTo>
                  <a:cubicBezTo>
                    <a:pt x="95" y="266"/>
                    <a:pt x="107" y="278"/>
                    <a:pt x="123" y="278"/>
                  </a:cubicBezTo>
                  <a:cubicBezTo>
                    <a:pt x="123" y="278"/>
                    <a:pt x="123" y="278"/>
                    <a:pt x="123" y="278"/>
                  </a:cubicBezTo>
                  <a:cubicBezTo>
                    <a:pt x="138" y="278"/>
                    <a:pt x="150" y="266"/>
                    <a:pt x="150" y="251"/>
                  </a:cubicBezTo>
                  <a:cubicBezTo>
                    <a:pt x="150" y="236"/>
                    <a:pt x="138" y="224"/>
                    <a:pt x="123" y="224"/>
                  </a:cubicBezTo>
                  <a:close/>
                  <a:moveTo>
                    <a:pt x="123" y="269"/>
                  </a:moveTo>
                  <a:cubicBezTo>
                    <a:pt x="123" y="274"/>
                    <a:pt x="123" y="274"/>
                    <a:pt x="123" y="274"/>
                  </a:cubicBezTo>
                  <a:cubicBezTo>
                    <a:pt x="123" y="269"/>
                    <a:pt x="123" y="269"/>
                    <a:pt x="123" y="269"/>
                  </a:cubicBezTo>
                  <a:cubicBezTo>
                    <a:pt x="113" y="269"/>
                    <a:pt x="105" y="261"/>
                    <a:pt x="105" y="251"/>
                  </a:cubicBezTo>
                  <a:cubicBezTo>
                    <a:pt x="105" y="241"/>
                    <a:pt x="113" y="233"/>
                    <a:pt x="123" y="233"/>
                  </a:cubicBezTo>
                  <a:cubicBezTo>
                    <a:pt x="133" y="234"/>
                    <a:pt x="141" y="242"/>
                    <a:pt x="141" y="251"/>
                  </a:cubicBezTo>
                  <a:cubicBezTo>
                    <a:pt x="141" y="261"/>
                    <a:pt x="133" y="269"/>
                    <a:pt x="123" y="269"/>
                  </a:cubicBezTo>
                  <a:close/>
                  <a:moveTo>
                    <a:pt x="123" y="288"/>
                  </a:moveTo>
                  <a:cubicBezTo>
                    <a:pt x="122" y="288"/>
                    <a:pt x="122" y="288"/>
                    <a:pt x="122" y="288"/>
                  </a:cubicBezTo>
                  <a:cubicBezTo>
                    <a:pt x="107" y="288"/>
                    <a:pt x="95" y="300"/>
                    <a:pt x="95" y="314"/>
                  </a:cubicBezTo>
                  <a:cubicBezTo>
                    <a:pt x="95" y="329"/>
                    <a:pt x="107" y="341"/>
                    <a:pt x="123" y="342"/>
                  </a:cubicBezTo>
                  <a:cubicBezTo>
                    <a:pt x="123" y="342"/>
                    <a:pt x="123" y="342"/>
                    <a:pt x="123" y="342"/>
                  </a:cubicBezTo>
                  <a:cubicBezTo>
                    <a:pt x="138" y="342"/>
                    <a:pt x="150" y="330"/>
                    <a:pt x="150" y="315"/>
                  </a:cubicBezTo>
                  <a:cubicBezTo>
                    <a:pt x="150" y="300"/>
                    <a:pt x="138" y="288"/>
                    <a:pt x="123" y="288"/>
                  </a:cubicBezTo>
                  <a:close/>
                  <a:moveTo>
                    <a:pt x="123" y="332"/>
                  </a:moveTo>
                  <a:cubicBezTo>
                    <a:pt x="123" y="332"/>
                    <a:pt x="123" y="332"/>
                    <a:pt x="123" y="332"/>
                  </a:cubicBezTo>
                  <a:cubicBezTo>
                    <a:pt x="113" y="332"/>
                    <a:pt x="105" y="324"/>
                    <a:pt x="105" y="314"/>
                  </a:cubicBezTo>
                  <a:cubicBezTo>
                    <a:pt x="105" y="305"/>
                    <a:pt x="113" y="297"/>
                    <a:pt x="123" y="297"/>
                  </a:cubicBezTo>
                  <a:cubicBezTo>
                    <a:pt x="123" y="297"/>
                    <a:pt x="123" y="297"/>
                    <a:pt x="123" y="297"/>
                  </a:cubicBezTo>
                  <a:cubicBezTo>
                    <a:pt x="133" y="297"/>
                    <a:pt x="141" y="305"/>
                    <a:pt x="141" y="315"/>
                  </a:cubicBezTo>
                  <a:cubicBezTo>
                    <a:pt x="141" y="325"/>
                    <a:pt x="133" y="332"/>
                    <a:pt x="123" y="3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grpSp>
        <p:nvGrpSpPr>
          <p:cNvPr id="49" name="Gruppieren 48"/>
          <p:cNvGrpSpPr/>
          <p:nvPr/>
        </p:nvGrpSpPr>
        <p:grpSpPr>
          <a:xfrm>
            <a:off x="1365453" y="2804242"/>
            <a:ext cx="822960" cy="822960"/>
            <a:chOff x="5684520" y="2996242"/>
            <a:chExt cx="822960" cy="822960"/>
          </a:xfrm>
        </p:grpSpPr>
        <p:sp>
          <p:nvSpPr>
            <p:cNvPr id="8" name="Oval 18"/>
            <p:cNvSpPr>
              <a:spLocks noChangeArrowheads="1"/>
            </p:cNvSpPr>
            <p:nvPr/>
          </p:nvSpPr>
          <p:spPr bwMode="auto">
            <a:xfrm>
              <a:off x="5684520" y="2996242"/>
              <a:ext cx="822960" cy="82296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9" name="Freeform 36"/>
            <p:cNvSpPr>
              <a:spLocks noEditPoints="1"/>
            </p:cNvSpPr>
            <p:nvPr/>
          </p:nvSpPr>
          <p:spPr bwMode="auto">
            <a:xfrm>
              <a:off x="5824795" y="3137884"/>
              <a:ext cx="542741" cy="494104"/>
            </a:xfrm>
            <a:custGeom>
              <a:avLst/>
              <a:gdLst>
                <a:gd name="T0" fmla="*/ 588 w 701"/>
                <a:gd name="T1" fmla="*/ 527 h 638"/>
                <a:gd name="T2" fmla="*/ 375 w 701"/>
                <a:gd name="T3" fmla="*/ 311 h 638"/>
                <a:gd name="T4" fmla="*/ 436 w 701"/>
                <a:gd name="T5" fmla="*/ 281 h 638"/>
                <a:gd name="T6" fmla="*/ 563 w 701"/>
                <a:gd name="T7" fmla="*/ 258 h 638"/>
                <a:gd name="T8" fmla="*/ 432 w 701"/>
                <a:gd name="T9" fmla="*/ 258 h 638"/>
                <a:gd name="T10" fmla="*/ 371 w 701"/>
                <a:gd name="T11" fmla="*/ 283 h 638"/>
                <a:gd name="T12" fmla="*/ 382 w 701"/>
                <a:gd name="T13" fmla="*/ 128 h 638"/>
                <a:gd name="T14" fmla="*/ 469 w 701"/>
                <a:gd name="T15" fmla="*/ 66 h 638"/>
                <a:gd name="T16" fmla="*/ 338 w 701"/>
                <a:gd name="T17" fmla="*/ 66 h 638"/>
                <a:gd name="T18" fmla="*/ 319 w 701"/>
                <a:gd name="T19" fmla="*/ 229 h 638"/>
                <a:gd name="T20" fmla="*/ 205 w 701"/>
                <a:gd name="T21" fmla="*/ 283 h 638"/>
                <a:gd name="T22" fmla="*/ 131 w 701"/>
                <a:gd name="T23" fmla="*/ 258 h 638"/>
                <a:gd name="T24" fmla="*/ 0 w 701"/>
                <a:gd name="T25" fmla="*/ 258 h 638"/>
                <a:gd name="T26" fmla="*/ 127 w 701"/>
                <a:gd name="T27" fmla="*/ 280 h 638"/>
                <a:gd name="T28" fmla="*/ 201 w 701"/>
                <a:gd name="T29" fmla="*/ 311 h 638"/>
                <a:gd name="T30" fmla="*/ 210 w 701"/>
                <a:gd name="T31" fmla="*/ 472 h 638"/>
                <a:gd name="T32" fmla="*/ 130 w 701"/>
                <a:gd name="T33" fmla="*/ 536 h 638"/>
                <a:gd name="T34" fmla="*/ 262 w 701"/>
                <a:gd name="T35" fmla="*/ 536 h 638"/>
                <a:gd name="T36" fmla="*/ 258 w 701"/>
                <a:gd name="T37" fmla="*/ 393 h 638"/>
                <a:gd name="T38" fmla="*/ 348 w 701"/>
                <a:gd name="T39" fmla="*/ 374 h 638"/>
                <a:gd name="T40" fmla="*/ 570 w 701"/>
                <a:gd name="T41" fmla="*/ 572 h 638"/>
                <a:gd name="T42" fmla="*/ 701 w 701"/>
                <a:gd name="T43" fmla="*/ 572 h 638"/>
                <a:gd name="T44" fmla="*/ 498 w 701"/>
                <a:gd name="T45" fmla="*/ 206 h 638"/>
                <a:gd name="T46" fmla="*/ 498 w 701"/>
                <a:gd name="T47" fmla="*/ 309 h 638"/>
                <a:gd name="T48" fmla="*/ 448 w 701"/>
                <a:gd name="T49" fmla="*/ 270 h 638"/>
                <a:gd name="T50" fmla="*/ 446 w 701"/>
                <a:gd name="T51" fmla="*/ 258 h 638"/>
                <a:gd name="T52" fmla="*/ 352 w 701"/>
                <a:gd name="T53" fmla="*/ 66 h 638"/>
                <a:gd name="T54" fmla="*/ 455 w 701"/>
                <a:gd name="T55" fmla="*/ 66 h 638"/>
                <a:gd name="T56" fmla="*/ 352 w 701"/>
                <a:gd name="T57" fmla="*/ 66 h 638"/>
                <a:gd name="T58" fmla="*/ 14 w 701"/>
                <a:gd name="T59" fmla="*/ 258 h 638"/>
                <a:gd name="T60" fmla="*/ 117 w 701"/>
                <a:gd name="T61" fmla="*/ 258 h 638"/>
                <a:gd name="T62" fmla="*/ 248 w 701"/>
                <a:gd name="T63" fmla="*/ 536 h 638"/>
                <a:gd name="T64" fmla="*/ 144 w 701"/>
                <a:gd name="T65" fmla="*/ 536 h 638"/>
                <a:gd name="T66" fmla="*/ 248 w 701"/>
                <a:gd name="T67" fmla="*/ 536 h 638"/>
                <a:gd name="T68" fmla="*/ 288 w 701"/>
                <a:gd name="T69" fmla="*/ 237 h 638"/>
                <a:gd name="T70" fmla="*/ 288 w 701"/>
                <a:gd name="T71" fmla="*/ 384 h 638"/>
                <a:gd name="T72" fmla="*/ 635 w 701"/>
                <a:gd name="T73" fmla="*/ 624 h 638"/>
                <a:gd name="T74" fmla="*/ 635 w 701"/>
                <a:gd name="T75" fmla="*/ 521 h 638"/>
                <a:gd name="T76" fmla="*/ 635 w 701"/>
                <a:gd name="T77" fmla="*/ 624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01" h="638">
                  <a:moveTo>
                    <a:pt x="635" y="507"/>
                  </a:moveTo>
                  <a:cubicBezTo>
                    <a:pt x="617" y="507"/>
                    <a:pt x="600" y="514"/>
                    <a:pt x="588" y="527"/>
                  </a:cubicBezTo>
                  <a:cubicBezTo>
                    <a:pt x="357" y="364"/>
                    <a:pt x="357" y="364"/>
                    <a:pt x="357" y="364"/>
                  </a:cubicBezTo>
                  <a:cubicBezTo>
                    <a:pt x="368" y="349"/>
                    <a:pt x="375" y="331"/>
                    <a:pt x="375" y="311"/>
                  </a:cubicBezTo>
                  <a:cubicBezTo>
                    <a:pt x="375" y="306"/>
                    <a:pt x="375" y="301"/>
                    <a:pt x="374" y="296"/>
                  </a:cubicBezTo>
                  <a:cubicBezTo>
                    <a:pt x="436" y="281"/>
                    <a:pt x="436" y="281"/>
                    <a:pt x="436" y="281"/>
                  </a:cubicBezTo>
                  <a:cubicBezTo>
                    <a:pt x="445" y="306"/>
                    <a:pt x="469" y="323"/>
                    <a:pt x="498" y="323"/>
                  </a:cubicBezTo>
                  <a:cubicBezTo>
                    <a:pt x="534" y="323"/>
                    <a:pt x="563" y="294"/>
                    <a:pt x="563" y="258"/>
                  </a:cubicBezTo>
                  <a:cubicBezTo>
                    <a:pt x="563" y="222"/>
                    <a:pt x="534" y="192"/>
                    <a:pt x="498" y="192"/>
                  </a:cubicBezTo>
                  <a:cubicBezTo>
                    <a:pt x="461" y="192"/>
                    <a:pt x="432" y="222"/>
                    <a:pt x="432" y="258"/>
                  </a:cubicBezTo>
                  <a:cubicBezTo>
                    <a:pt x="432" y="261"/>
                    <a:pt x="432" y="264"/>
                    <a:pt x="433" y="267"/>
                  </a:cubicBezTo>
                  <a:cubicBezTo>
                    <a:pt x="371" y="283"/>
                    <a:pt x="371" y="283"/>
                    <a:pt x="371" y="283"/>
                  </a:cubicBezTo>
                  <a:cubicBezTo>
                    <a:pt x="364" y="262"/>
                    <a:pt x="350" y="246"/>
                    <a:pt x="331" y="235"/>
                  </a:cubicBezTo>
                  <a:cubicBezTo>
                    <a:pt x="382" y="128"/>
                    <a:pt x="382" y="128"/>
                    <a:pt x="382" y="128"/>
                  </a:cubicBezTo>
                  <a:cubicBezTo>
                    <a:pt x="389" y="130"/>
                    <a:pt x="396" y="132"/>
                    <a:pt x="403" y="132"/>
                  </a:cubicBezTo>
                  <a:cubicBezTo>
                    <a:pt x="439" y="132"/>
                    <a:pt x="469" y="102"/>
                    <a:pt x="469" y="66"/>
                  </a:cubicBezTo>
                  <a:cubicBezTo>
                    <a:pt x="469" y="30"/>
                    <a:pt x="439" y="0"/>
                    <a:pt x="403" y="0"/>
                  </a:cubicBezTo>
                  <a:cubicBezTo>
                    <a:pt x="367" y="0"/>
                    <a:pt x="338" y="30"/>
                    <a:pt x="338" y="66"/>
                  </a:cubicBezTo>
                  <a:cubicBezTo>
                    <a:pt x="338" y="90"/>
                    <a:pt x="350" y="110"/>
                    <a:pt x="369" y="122"/>
                  </a:cubicBezTo>
                  <a:cubicBezTo>
                    <a:pt x="319" y="229"/>
                    <a:pt x="319" y="229"/>
                    <a:pt x="319" y="229"/>
                  </a:cubicBezTo>
                  <a:cubicBezTo>
                    <a:pt x="309" y="225"/>
                    <a:pt x="299" y="223"/>
                    <a:pt x="288" y="223"/>
                  </a:cubicBezTo>
                  <a:cubicBezTo>
                    <a:pt x="250" y="223"/>
                    <a:pt x="217" y="249"/>
                    <a:pt x="205" y="283"/>
                  </a:cubicBezTo>
                  <a:cubicBezTo>
                    <a:pt x="130" y="267"/>
                    <a:pt x="130" y="267"/>
                    <a:pt x="130" y="267"/>
                  </a:cubicBezTo>
                  <a:cubicBezTo>
                    <a:pt x="131" y="264"/>
                    <a:pt x="131" y="261"/>
                    <a:pt x="131" y="258"/>
                  </a:cubicBezTo>
                  <a:cubicBezTo>
                    <a:pt x="131" y="222"/>
                    <a:pt x="101" y="192"/>
                    <a:pt x="65" y="192"/>
                  </a:cubicBezTo>
                  <a:cubicBezTo>
                    <a:pt x="29" y="192"/>
                    <a:pt x="0" y="222"/>
                    <a:pt x="0" y="258"/>
                  </a:cubicBezTo>
                  <a:cubicBezTo>
                    <a:pt x="0" y="294"/>
                    <a:pt x="29" y="323"/>
                    <a:pt x="65" y="323"/>
                  </a:cubicBezTo>
                  <a:cubicBezTo>
                    <a:pt x="93" y="323"/>
                    <a:pt x="118" y="305"/>
                    <a:pt x="127" y="280"/>
                  </a:cubicBezTo>
                  <a:cubicBezTo>
                    <a:pt x="202" y="297"/>
                    <a:pt x="202" y="297"/>
                    <a:pt x="202" y="297"/>
                  </a:cubicBezTo>
                  <a:cubicBezTo>
                    <a:pt x="201" y="301"/>
                    <a:pt x="201" y="306"/>
                    <a:pt x="201" y="311"/>
                  </a:cubicBezTo>
                  <a:cubicBezTo>
                    <a:pt x="201" y="343"/>
                    <a:pt x="219" y="372"/>
                    <a:pt x="246" y="387"/>
                  </a:cubicBezTo>
                  <a:cubicBezTo>
                    <a:pt x="210" y="472"/>
                    <a:pt x="210" y="472"/>
                    <a:pt x="210" y="472"/>
                  </a:cubicBezTo>
                  <a:cubicBezTo>
                    <a:pt x="206" y="471"/>
                    <a:pt x="201" y="471"/>
                    <a:pt x="196" y="471"/>
                  </a:cubicBezTo>
                  <a:cubicBezTo>
                    <a:pt x="160" y="471"/>
                    <a:pt x="130" y="500"/>
                    <a:pt x="130" y="536"/>
                  </a:cubicBezTo>
                  <a:cubicBezTo>
                    <a:pt x="130" y="573"/>
                    <a:pt x="160" y="602"/>
                    <a:pt x="196" y="602"/>
                  </a:cubicBezTo>
                  <a:cubicBezTo>
                    <a:pt x="232" y="602"/>
                    <a:pt x="262" y="573"/>
                    <a:pt x="262" y="536"/>
                  </a:cubicBezTo>
                  <a:cubicBezTo>
                    <a:pt x="262" y="510"/>
                    <a:pt x="246" y="487"/>
                    <a:pt x="224" y="477"/>
                  </a:cubicBezTo>
                  <a:cubicBezTo>
                    <a:pt x="258" y="393"/>
                    <a:pt x="258" y="393"/>
                    <a:pt x="258" y="393"/>
                  </a:cubicBezTo>
                  <a:cubicBezTo>
                    <a:pt x="268" y="396"/>
                    <a:pt x="278" y="398"/>
                    <a:pt x="288" y="398"/>
                  </a:cubicBezTo>
                  <a:cubicBezTo>
                    <a:pt x="311" y="398"/>
                    <a:pt x="332" y="389"/>
                    <a:pt x="348" y="374"/>
                  </a:cubicBezTo>
                  <a:cubicBezTo>
                    <a:pt x="580" y="538"/>
                    <a:pt x="580" y="538"/>
                    <a:pt x="580" y="538"/>
                  </a:cubicBezTo>
                  <a:cubicBezTo>
                    <a:pt x="573" y="548"/>
                    <a:pt x="570" y="560"/>
                    <a:pt x="570" y="572"/>
                  </a:cubicBezTo>
                  <a:cubicBezTo>
                    <a:pt x="570" y="609"/>
                    <a:pt x="599" y="638"/>
                    <a:pt x="635" y="638"/>
                  </a:cubicBezTo>
                  <a:cubicBezTo>
                    <a:pt x="672" y="638"/>
                    <a:pt x="701" y="609"/>
                    <a:pt x="701" y="572"/>
                  </a:cubicBezTo>
                  <a:cubicBezTo>
                    <a:pt x="701" y="536"/>
                    <a:pt x="672" y="507"/>
                    <a:pt x="635" y="507"/>
                  </a:cubicBezTo>
                  <a:close/>
                  <a:moveTo>
                    <a:pt x="498" y="206"/>
                  </a:moveTo>
                  <a:cubicBezTo>
                    <a:pt x="526" y="206"/>
                    <a:pt x="549" y="229"/>
                    <a:pt x="549" y="258"/>
                  </a:cubicBezTo>
                  <a:cubicBezTo>
                    <a:pt x="549" y="286"/>
                    <a:pt x="526" y="309"/>
                    <a:pt x="498" y="309"/>
                  </a:cubicBezTo>
                  <a:cubicBezTo>
                    <a:pt x="473" y="309"/>
                    <a:pt x="453" y="293"/>
                    <a:pt x="448" y="270"/>
                  </a:cubicBezTo>
                  <a:cubicBezTo>
                    <a:pt x="448" y="270"/>
                    <a:pt x="448" y="270"/>
                    <a:pt x="448" y="270"/>
                  </a:cubicBezTo>
                  <a:cubicBezTo>
                    <a:pt x="448" y="270"/>
                    <a:pt x="448" y="270"/>
                    <a:pt x="448" y="270"/>
                  </a:cubicBezTo>
                  <a:cubicBezTo>
                    <a:pt x="447" y="266"/>
                    <a:pt x="446" y="262"/>
                    <a:pt x="446" y="258"/>
                  </a:cubicBezTo>
                  <a:cubicBezTo>
                    <a:pt x="446" y="229"/>
                    <a:pt x="469" y="206"/>
                    <a:pt x="498" y="206"/>
                  </a:cubicBezTo>
                  <a:close/>
                  <a:moveTo>
                    <a:pt x="352" y="66"/>
                  </a:moveTo>
                  <a:cubicBezTo>
                    <a:pt x="352" y="37"/>
                    <a:pt x="375" y="14"/>
                    <a:pt x="403" y="14"/>
                  </a:cubicBezTo>
                  <a:cubicBezTo>
                    <a:pt x="432" y="14"/>
                    <a:pt x="455" y="37"/>
                    <a:pt x="455" y="66"/>
                  </a:cubicBezTo>
                  <a:cubicBezTo>
                    <a:pt x="455" y="94"/>
                    <a:pt x="432" y="118"/>
                    <a:pt x="403" y="118"/>
                  </a:cubicBezTo>
                  <a:cubicBezTo>
                    <a:pt x="375" y="118"/>
                    <a:pt x="352" y="94"/>
                    <a:pt x="352" y="66"/>
                  </a:cubicBezTo>
                  <a:close/>
                  <a:moveTo>
                    <a:pt x="65" y="309"/>
                  </a:moveTo>
                  <a:cubicBezTo>
                    <a:pt x="37" y="309"/>
                    <a:pt x="14" y="286"/>
                    <a:pt x="14" y="258"/>
                  </a:cubicBezTo>
                  <a:cubicBezTo>
                    <a:pt x="14" y="229"/>
                    <a:pt x="37" y="206"/>
                    <a:pt x="65" y="206"/>
                  </a:cubicBezTo>
                  <a:cubicBezTo>
                    <a:pt x="94" y="206"/>
                    <a:pt x="117" y="229"/>
                    <a:pt x="117" y="258"/>
                  </a:cubicBezTo>
                  <a:cubicBezTo>
                    <a:pt x="117" y="286"/>
                    <a:pt x="94" y="309"/>
                    <a:pt x="65" y="309"/>
                  </a:cubicBezTo>
                  <a:close/>
                  <a:moveTo>
                    <a:pt x="248" y="536"/>
                  </a:moveTo>
                  <a:cubicBezTo>
                    <a:pt x="248" y="565"/>
                    <a:pt x="225" y="588"/>
                    <a:pt x="196" y="588"/>
                  </a:cubicBezTo>
                  <a:cubicBezTo>
                    <a:pt x="168" y="588"/>
                    <a:pt x="144" y="565"/>
                    <a:pt x="144" y="536"/>
                  </a:cubicBezTo>
                  <a:cubicBezTo>
                    <a:pt x="144" y="508"/>
                    <a:pt x="168" y="485"/>
                    <a:pt x="196" y="485"/>
                  </a:cubicBezTo>
                  <a:cubicBezTo>
                    <a:pt x="225" y="485"/>
                    <a:pt x="248" y="508"/>
                    <a:pt x="248" y="536"/>
                  </a:cubicBezTo>
                  <a:close/>
                  <a:moveTo>
                    <a:pt x="215" y="311"/>
                  </a:moveTo>
                  <a:cubicBezTo>
                    <a:pt x="215" y="270"/>
                    <a:pt x="248" y="237"/>
                    <a:pt x="288" y="237"/>
                  </a:cubicBezTo>
                  <a:cubicBezTo>
                    <a:pt x="328" y="237"/>
                    <a:pt x="361" y="270"/>
                    <a:pt x="361" y="311"/>
                  </a:cubicBezTo>
                  <a:cubicBezTo>
                    <a:pt x="361" y="351"/>
                    <a:pt x="328" y="384"/>
                    <a:pt x="288" y="384"/>
                  </a:cubicBezTo>
                  <a:cubicBezTo>
                    <a:pt x="248" y="384"/>
                    <a:pt x="215" y="351"/>
                    <a:pt x="215" y="311"/>
                  </a:cubicBezTo>
                  <a:close/>
                  <a:moveTo>
                    <a:pt x="635" y="624"/>
                  </a:moveTo>
                  <a:cubicBezTo>
                    <a:pt x="607" y="624"/>
                    <a:pt x="584" y="601"/>
                    <a:pt x="584" y="572"/>
                  </a:cubicBezTo>
                  <a:cubicBezTo>
                    <a:pt x="584" y="544"/>
                    <a:pt x="607" y="521"/>
                    <a:pt x="635" y="521"/>
                  </a:cubicBezTo>
                  <a:cubicBezTo>
                    <a:pt x="664" y="521"/>
                    <a:pt x="687" y="544"/>
                    <a:pt x="687" y="572"/>
                  </a:cubicBezTo>
                  <a:cubicBezTo>
                    <a:pt x="687" y="601"/>
                    <a:pt x="664" y="624"/>
                    <a:pt x="635" y="624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grpSp>
        <p:nvGrpSpPr>
          <p:cNvPr id="59" name="Gruppieren 58"/>
          <p:cNvGrpSpPr/>
          <p:nvPr/>
        </p:nvGrpSpPr>
        <p:grpSpPr>
          <a:xfrm>
            <a:off x="8831619" y="4151736"/>
            <a:ext cx="822960" cy="822960"/>
            <a:chOff x="744159" y="2314924"/>
            <a:chExt cx="822960" cy="822960"/>
          </a:xfrm>
        </p:grpSpPr>
        <p:sp>
          <p:nvSpPr>
            <p:cNvPr id="10" name="Oval 9"/>
            <p:cNvSpPr>
              <a:spLocks noChangeArrowheads="1"/>
            </p:cNvSpPr>
            <p:nvPr/>
          </p:nvSpPr>
          <p:spPr bwMode="auto">
            <a:xfrm>
              <a:off x="744159" y="2314924"/>
              <a:ext cx="822960" cy="82296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1" name="Freeform 28"/>
            <p:cNvSpPr>
              <a:spLocks noEditPoints="1"/>
            </p:cNvSpPr>
            <p:nvPr/>
          </p:nvSpPr>
          <p:spPr bwMode="auto">
            <a:xfrm>
              <a:off x="905081" y="2465478"/>
              <a:ext cx="501118" cy="522181"/>
            </a:xfrm>
            <a:custGeom>
              <a:avLst/>
              <a:gdLst>
                <a:gd name="T0" fmla="*/ 633 w 647"/>
                <a:gd name="T1" fmla="*/ 245 h 674"/>
                <a:gd name="T2" fmla="*/ 546 w 647"/>
                <a:gd name="T3" fmla="*/ 172 h 674"/>
                <a:gd name="T4" fmla="*/ 536 w 647"/>
                <a:gd name="T5" fmla="*/ 173 h 674"/>
                <a:gd name="T6" fmla="*/ 565 w 647"/>
                <a:gd name="T7" fmla="*/ 124 h 674"/>
                <a:gd name="T8" fmla="*/ 331 w 647"/>
                <a:gd name="T9" fmla="*/ 15 h 674"/>
                <a:gd name="T10" fmla="*/ 324 w 647"/>
                <a:gd name="T11" fmla="*/ 83 h 674"/>
                <a:gd name="T12" fmla="*/ 317 w 647"/>
                <a:gd name="T13" fmla="*/ 15 h 674"/>
                <a:gd name="T14" fmla="*/ 82 w 647"/>
                <a:gd name="T15" fmla="*/ 124 h 674"/>
                <a:gd name="T16" fmla="*/ 111 w 647"/>
                <a:gd name="T17" fmla="*/ 173 h 674"/>
                <a:gd name="T18" fmla="*/ 101 w 647"/>
                <a:gd name="T19" fmla="*/ 172 h 674"/>
                <a:gd name="T20" fmla="*/ 14 w 647"/>
                <a:gd name="T21" fmla="*/ 245 h 674"/>
                <a:gd name="T22" fmla="*/ 6 w 647"/>
                <a:gd name="T23" fmla="*/ 250 h 674"/>
                <a:gd name="T24" fmla="*/ 67 w 647"/>
                <a:gd name="T25" fmla="*/ 120 h 674"/>
                <a:gd name="T26" fmla="*/ 69 w 647"/>
                <a:gd name="T27" fmla="*/ 118 h 674"/>
                <a:gd name="T28" fmla="*/ 324 w 647"/>
                <a:gd name="T29" fmla="*/ 0 h 674"/>
                <a:gd name="T30" fmla="*/ 324 w 647"/>
                <a:gd name="T31" fmla="*/ 0 h 674"/>
                <a:gd name="T32" fmla="*/ 526 w 647"/>
                <a:gd name="T33" fmla="*/ 68 h 674"/>
                <a:gd name="T34" fmla="*/ 579 w 647"/>
                <a:gd name="T35" fmla="*/ 118 h 674"/>
                <a:gd name="T36" fmla="*/ 646 w 647"/>
                <a:gd name="T37" fmla="*/ 241 h 674"/>
                <a:gd name="T38" fmla="*/ 607 w 647"/>
                <a:gd name="T39" fmla="*/ 505 h 674"/>
                <a:gd name="T40" fmla="*/ 324 w 647"/>
                <a:gd name="T41" fmla="*/ 660 h 674"/>
                <a:gd name="T42" fmla="*/ 40 w 647"/>
                <a:gd name="T43" fmla="*/ 505 h 674"/>
                <a:gd name="T44" fmla="*/ 324 w 647"/>
                <a:gd name="T45" fmla="*/ 674 h 674"/>
                <a:gd name="T46" fmla="*/ 607 w 647"/>
                <a:gd name="T47" fmla="*/ 505 h 674"/>
                <a:gd name="T48" fmla="*/ 403 w 647"/>
                <a:gd name="T49" fmla="*/ 439 h 674"/>
                <a:gd name="T50" fmla="*/ 446 w 647"/>
                <a:gd name="T51" fmla="*/ 516 h 674"/>
                <a:gd name="T52" fmla="*/ 206 w 647"/>
                <a:gd name="T53" fmla="*/ 518 h 674"/>
                <a:gd name="T54" fmla="*/ 200 w 647"/>
                <a:gd name="T55" fmla="*/ 510 h 674"/>
                <a:gd name="T56" fmla="*/ 391 w 647"/>
                <a:gd name="T57" fmla="*/ 431 h 674"/>
                <a:gd name="T58" fmla="*/ 552 w 647"/>
                <a:gd name="T59" fmla="*/ 273 h 674"/>
                <a:gd name="T60" fmla="*/ 389 w 647"/>
                <a:gd name="T61" fmla="*/ 446 h 674"/>
                <a:gd name="T62" fmla="*/ 387 w 647"/>
                <a:gd name="T63" fmla="*/ 445 h 674"/>
                <a:gd name="T64" fmla="*/ 216 w 647"/>
                <a:gd name="T65" fmla="*/ 504 h 674"/>
                <a:gd name="T66" fmla="*/ 389 w 647"/>
                <a:gd name="T67" fmla="*/ 446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7" h="674">
                  <a:moveTo>
                    <a:pt x="641" y="250"/>
                  </a:moveTo>
                  <a:cubicBezTo>
                    <a:pt x="638" y="251"/>
                    <a:pt x="634" y="249"/>
                    <a:pt x="633" y="245"/>
                  </a:cubicBezTo>
                  <a:cubicBezTo>
                    <a:pt x="621" y="205"/>
                    <a:pt x="601" y="167"/>
                    <a:pt x="574" y="135"/>
                  </a:cubicBezTo>
                  <a:cubicBezTo>
                    <a:pt x="546" y="172"/>
                    <a:pt x="546" y="172"/>
                    <a:pt x="546" y="172"/>
                  </a:cubicBezTo>
                  <a:cubicBezTo>
                    <a:pt x="544" y="174"/>
                    <a:pt x="542" y="174"/>
                    <a:pt x="540" y="174"/>
                  </a:cubicBezTo>
                  <a:cubicBezTo>
                    <a:pt x="539" y="174"/>
                    <a:pt x="537" y="174"/>
                    <a:pt x="536" y="173"/>
                  </a:cubicBezTo>
                  <a:cubicBezTo>
                    <a:pt x="533" y="171"/>
                    <a:pt x="532" y="166"/>
                    <a:pt x="535" y="163"/>
                  </a:cubicBezTo>
                  <a:cubicBezTo>
                    <a:pt x="565" y="124"/>
                    <a:pt x="565" y="124"/>
                    <a:pt x="565" y="124"/>
                  </a:cubicBezTo>
                  <a:cubicBezTo>
                    <a:pt x="551" y="107"/>
                    <a:pt x="535" y="93"/>
                    <a:pt x="518" y="80"/>
                  </a:cubicBezTo>
                  <a:cubicBezTo>
                    <a:pt x="464" y="38"/>
                    <a:pt x="399" y="16"/>
                    <a:pt x="331" y="15"/>
                  </a:cubicBezTo>
                  <a:cubicBezTo>
                    <a:pt x="331" y="76"/>
                    <a:pt x="331" y="76"/>
                    <a:pt x="331" y="76"/>
                  </a:cubicBezTo>
                  <a:cubicBezTo>
                    <a:pt x="331" y="79"/>
                    <a:pt x="327" y="83"/>
                    <a:pt x="324" y="83"/>
                  </a:cubicBezTo>
                  <a:cubicBezTo>
                    <a:pt x="320" y="83"/>
                    <a:pt x="317" y="79"/>
                    <a:pt x="317" y="76"/>
                  </a:cubicBezTo>
                  <a:cubicBezTo>
                    <a:pt x="317" y="15"/>
                    <a:pt x="317" y="15"/>
                    <a:pt x="317" y="15"/>
                  </a:cubicBezTo>
                  <a:cubicBezTo>
                    <a:pt x="248" y="16"/>
                    <a:pt x="184" y="38"/>
                    <a:pt x="129" y="80"/>
                  </a:cubicBezTo>
                  <a:cubicBezTo>
                    <a:pt x="112" y="93"/>
                    <a:pt x="96" y="107"/>
                    <a:pt x="82" y="124"/>
                  </a:cubicBezTo>
                  <a:cubicBezTo>
                    <a:pt x="112" y="163"/>
                    <a:pt x="112" y="163"/>
                    <a:pt x="112" y="163"/>
                  </a:cubicBezTo>
                  <a:cubicBezTo>
                    <a:pt x="115" y="166"/>
                    <a:pt x="114" y="171"/>
                    <a:pt x="111" y="173"/>
                  </a:cubicBezTo>
                  <a:cubicBezTo>
                    <a:pt x="110" y="174"/>
                    <a:pt x="108" y="174"/>
                    <a:pt x="107" y="174"/>
                  </a:cubicBezTo>
                  <a:cubicBezTo>
                    <a:pt x="105" y="174"/>
                    <a:pt x="103" y="174"/>
                    <a:pt x="101" y="172"/>
                  </a:cubicBezTo>
                  <a:cubicBezTo>
                    <a:pt x="73" y="135"/>
                    <a:pt x="73" y="135"/>
                    <a:pt x="73" y="135"/>
                  </a:cubicBezTo>
                  <a:cubicBezTo>
                    <a:pt x="46" y="167"/>
                    <a:pt x="26" y="205"/>
                    <a:pt x="14" y="245"/>
                  </a:cubicBezTo>
                  <a:cubicBezTo>
                    <a:pt x="14" y="248"/>
                    <a:pt x="11" y="250"/>
                    <a:pt x="8" y="250"/>
                  </a:cubicBezTo>
                  <a:cubicBezTo>
                    <a:pt x="7" y="250"/>
                    <a:pt x="6" y="250"/>
                    <a:pt x="6" y="250"/>
                  </a:cubicBezTo>
                  <a:cubicBezTo>
                    <a:pt x="2" y="248"/>
                    <a:pt x="0" y="245"/>
                    <a:pt x="1" y="241"/>
                  </a:cubicBezTo>
                  <a:cubicBezTo>
                    <a:pt x="14" y="197"/>
                    <a:pt x="37" y="155"/>
                    <a:pt x="67" y="120"/>
                  </a:cubicBezTo>
                  <a:cubicBezTo>
                    <a:pt x="67" y="119"/>
                    <a:pt x="68" y="118"/>
                    <a:pt x="68" y="118"/>
                  </a:cubicBezTo>
                  <a:cubicBezTo>
                    <a:pt x="68" y="118"/>
                    <a:pt x="69" y="118"/>
                    <a:pt x="69" y="118"/>
                  </a:cubicBezTo>
                  <a:cubicBezTo>
                    <a:pt x="84" y="99"/>
                    <a:pt x="102" y="83"/>
                    <a:pt x="121" y="68"/>
                  </a:cubicBezTo>
                  <a:cubicBezTo>
                    <a:pt x="179" y="24"/>
                    <a:pt x="250" y="0"/>
                    <a:pt x="324" y="0"/>
                  </a:cubicBezTo>
                  <a:cubicBezTo>
                    <a:pt x="324" y="0"/>
                    <a:pt x="324" y="0"/>
                    <a:pt x="324" y="0"/>
                  </a:cubicBezTo>
                  <a:cubicBezTo>
                    <a:pt x="324" y="0"/>
                    <a:pt x="324" y="0"/>
                    <a:pt x="324" y="0"/>
                  </a:cubicBezTo>
                  <a:cubicBezTo>
                    <a:pt x="324" y="0"/>
                    <a:pt x="324" y="0"/>
                    <a:pt x="324" y="0"/>
                  </a:cubicBezTo>
                  <a:cubicBezTo>
                    <a:pt x="398" y="0"/>
                    <a:pt x="468" y="24"/>
                    <a:pt x="526" y="68"/>
                  </a:cubicBezTo>
                  <a:cubicBezTo>
                    <a:pt x="546" y="83"/>
                    <a:pt x="563" y="99"/>
                    <a:pt x="579" y="118"/>
                  </a:cubicBezTo>
                  <a:cubicBezTo>
                    <a:pt x="579" y="118"/>
                    <a:pt x="579" y="118"/>
                    <a:pt x="579" y="118"/>
                  </a:cubicBezTo>
                  <a:cubicBezTo>
                    <a:pt x="579" y="118"/>
                    <a:pt x="580" y="119"/>
                    <a:pt x="581" y="120"/>
                  </a:cubicBezTo>
                  <a:cubicBezTo>
                    <a:pt x="610" y="155"/>
                    <a:pt x="633" y="197"/>
                    <a:pt x="646" y="241"/>
                  </a:cubicBezTo>
                  <a:cubicBezTo>
                    <a:pt x="647" y="245"/>
                    <a:pt x="645" y="248"/>
                    <a:pt x="641" y="250"/>
                  </a:cubicBezTo>
                  <a:close/>
                  <a:moveTo>
                    <a:pt x="607" y="505"/>
                  </a:moveTo>
                  <a:cubicBezTo>
                    <a:pt x="603" y="503"/>
                    <a:pt x="599" y="504"/>
                    <a:pt x="597" y="508"/>
                  </a:cubicBezTo>
                  <a:cubicBezTo>
                    <a:pt x="537" y="603"/>
                    <a:pt x="435" y="660"/>
                    <a:pt x="324" y="660"/>
                  </a:cubicBezTo>
                  <a:cubicBezTo>
                    <a:pt x="212" y="660"/>
                    <a:pt x="110" y="603"/>
                    <a:pt x="50" y="508"/>
                  </a:cubicBezTo>
                  <a:cubicBezTo>
                    <a:pt x="48" y="504"/>
                    <a:pt x="44" y="503"/>
                    <a:pt x="40" y="505"/>
                  </a:cubicBezTo>
                  <a:cubicBezTo>
                    <a:pt x="37" y="507"/>
                    <a:pt x="36" y="512"/>
                    <a:pt x="38" y="515"/>
                  </a:cubicBezTo>
                  <a:cubicBezTo>
                    <a:pt x="100" y="614"/>
                    <a:pt x="207" y="674"/>
                    <a:pt x="324" y="674"/>
                  </a:cubicBezTo>
                  <a:cubicBezTo>
                    <a:pt x="440" y="674"/>
                    <a:pt x="547" y="614"/>
                    <a:pt x="609" y="515"/>
                  </a:cubicBezTo>
                  <a:cubicBezTo>
                    <a:pt x="611" y="512"/>
                    <a:pt x="610" y="507"/>
                    <a:pt x="607" y="505"/>
                  </a:cubicBezTo>
                  <a:close/>
                  <a:moveTo>
                    <a:pt x="552" y="283"/>
                  </a:moveTo>
                  <a:cubicBezTo>
                    <a:pt x="403" y="439"/>
                    <a:pt x="403" y="439"/>
                    <a:pt x="403" y="439"/>
                  </a:cubicBezTo>
                  <a:cubicBezTo>
                    <a:pt x="425" y="456"/>
                    <a:pt x="441" y="481"/>
                    <a:pt x="447" y="510"/>
                  </a:cubicBezTo>
                  <a:cubicBezTo>
                    <a:pt x="448" y="512"/>
                    <a:pt x="447" y="514"/>
                    <a:pt x="446" y="516"/>
                  </a:cubicBezTo>
                  <a:cubicBezTo>
                    <a:pt x="445" y="517"/>
                    <a:pt x="443" y="518"/>
                    <a:pt x="441" y="518"/>
                  </a:cubicBezTo>
                  <a:cubicBezTo>
                    <a:pt x="206" y="518"/>
                    <a:pt x="206" y="518"/>
                    <a:pt x="206" y="518"/>
                  </a:cubicBezTo>
                  <a:cubicBezTo>
                    <a:pt x="204" y="518"/>
                    <a:pt x="202" y="517"/>
                    <a:pt x="201" y="516"/>
                  </a:cubicBezTo>
                  <a:cubicBezTo>
                    <a:pt x="200" y="514"/>
                    <a:pt x="199" y="512"/>
                    <a:pt x="200" y="510"/>
                  </a:cubicBezTo>
                  <a:cubicBezTo>
                    <a:pt x="213" y="452"/>
                    <a:pt x="264" y="411"/>
                    <a:pt x="324" y="411"/>
                  </a:cubicBezTo>
                  <a:cubicBezTo>
                    <a:pt x="348" y="411"/>
                    <a:pt x="371" y="418"/>
                    <a:pt x="391" y="431"/>
                  </a:cubicBezTo>
                  <a:cubicBezTo>
                    <a:pt x="542" y="273"/>
                    <a:pt x="542" y="273"/>
                    <a:pt x="542" y="273"/>
                  </a:cubicBezTo>
                  <a:cubicBezTo>
                    <a:pt x="545" y="270"/>
                    <a:pt x="549" y="270"/>
                    <a:pt x="552" y="273"/>
                  </a:cubicBezTo>
                  <a:cubicBezTo>
                    <a:pt x="555" y="275"/>
                    <a:pt x="555" y="280"/>
                    <a:pt x="552" y="283"/>
                  </a:cubicBezTo>
                  <a:close/>
                  <a:moveTo>
                    <a:pt x="389" y="446"/>
                  </a:moveTo>
                  <a:cubicBezTo>
                    <a:pt x="388" y="446"/>
                    <a:pt x="388" y="445"/>
                    <a:pt x="387" y="445"/>
                  </a:cubicBezTo>
                  <a:cubicBezTo>
                    <a:pt x="387" y="445"/>
                    <a:pt x="387" y="445"/>
                    <a:pt x="387" y="445"/>
                  </a:cubicBezTo>
                  <a:cubicBezTo>
                    <a:pt x="369" y="432"/>
                    <a:pt x="347" y="425"/>
                    <a:pt x="324" y="425"/>
                  </a:cubicBezTo>
                  <a:cubicBezTo>
                    <a:pt x="274" y="425"/>
                    <a:pt x="230" y="457"/>
                    <a:pt x="216" y="504"/>
                  </a:cubicBezTo>
                  <a:cubicBezTo>
                    <a:pt x="431" y="504"/>
                    <a:pt x="431" y="504"/>
                    <a:pt x="431" y="504"/>
                  </a:cubicBezTo>
                  <a:cubicBezTo>
                    <a:pt x="424" y="480"/>
                    <a:pt x="409" y="460"/>
                    <a:pt x="389" y="446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grpSp>
        <p:nvGrpSpPr>
          <p:cNvPr id="50" name="Gruppieren 49"/>
          <p:cNvGrpSpPr/>
          <p:nvPr/>
        </p:nvGrpSpPr>
        <p:grpSpPr>
          <a:xfrm>
            <a:off x="3338777" y="3517932"/>
            <a:ext cx="822960" cy="822960"/>
            <a:chOff x="3883331" y="3035490"/>
            <a:chExt cx="822960" cy="822960"/>
          </a:xfrm>
        </p:grpSpPr>
        <p:sp>
          <p:nvSpPr>
            <p:cNvPr id="42" name="Oval 61"/>
            <p:cNvSpPr>
              <a:spLocks noChangeArrowheads="1"/>
            </p:cNvSpPr>
            <p:nvPr/>
          </p:nvSpPr>
          <p:spPr bwMode="auto">
            <a:xfrm>
              <a:off x="3883331" y="3035490"/>
              <a:ext cx="822960" cy="82296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3" name="Freeform 123"/>
            <p:cNvSpPr>
              <a:spLocks noEditPoints="1"/>
            </p:cNvSpPr>
            <p:nvPr/>
          </p:nvSpPr>
          <p:spPr bwMode="auto">
            <a:xfrm>
              <a:off x="4019915" y="3198008"/>
              <a:ext cx="522995" cy="524724"/>
            </a:xfrm>
            <a:custGeom>
              <a:avLst/>
              <a:gdLst>
                <a:gd name="T0" fmla="*/ 529 w 676"/>
                <a:gd name="T1" fmla="*/ 279 h 678"/>
                <a:gd name="T2" fmla="*/ 431 w 676"/>
                <a:gd name="T3" fmla="*/ 293 h 678"/>
                <a:gd name="T4" fmla="*/ 409 w 676"/>
                <a:gd name="T5" fmla="*/ 210 h 678"/>
                <a:gd name="T6" fmla="*/ 367 w 676"/>
                <a:gd name="T7" fmla="*/ 125 h 678"/>
                <a:gd name="T8" fmla="*/ 401 w 676"/>
                <a:gd name="T9" fmla="*/ 58 h 678"/>
                <a:gd name="T10" fmla="*/ 504 w 676"/>
                <a:gd name="T11" fmla="*/ 6 h 678"/>
                <a:gd name="T12" fmla="*/ 579 w 676"/>
                <a:gd name="T13" fmla="*/ 18 h 678"/>
                <a:gd name="T14" fmla="*/ 659 w 676"/>
                <a:gd name="T15" fmla="*/ 100 h 678"/>
                <a:gd name="T16" fmla="*/ 676 w 676"/>
                <a:gd name="T17" fmla="*/ 169 h 678"/>
                <a:gd name="T18" fmla="*/ 605 w 676"/>
                <a:gd name="T19" fmla="*/ 241 h 678"/>
                <a:gd name="T20" fmla="*/ 558 w 676"/>
                <a:gd name="T21" fmla="*/ 314 h 678"/>
                <a:gd name="T22" fmla="*/ 539 w 676"/>
                <a:gd name="T23" fmla="*/ 267 h 678"/>
                <a:gd name="T24" fmla="*/ 590 w 676"/>
                <a:gd name="T25" fmla="*/ 242 h 678"/>
                <a:gd name="T26" fmla="*/ 626 w 676"/>
                <a:gd name="T27" fmla="*/ 172 h 678"/>
                <a:gd name="T28" fmla="*/ 655 w 676"/>
                <a:gd name="T29" fmla="*/ 114 h 678"/>
                <a:gd name="T30" fmla="*/ 566 w 676"/>
                <a:gd name="T31" fmla="*/ 67 h 678"/>
                <a:gd name="T32" fmla="*/ 517 w 676"/>
                <a:gd name="T33" fmla="*/ 15 h 678"/>
                <a:gd name="T34" fmla="*/ 500 w 676"/>
                <a:gd name="T35" fmla="*/ 56 h 678"/>
                <a:gd name="T36" fmla="*/ 401 w 676"/>
                <a:gd name="T37" fmla="*/ 73 h 678"/>
                <a:gd name="T38" fmla="*/ 413 w 676"/>
                <a:gd name="T39" fmla="*/ 144 h 678"/>
                <a:gd name="T40" fmla="*/ 422 w 676"/>
                <a:gd name="T41" fmla="*/ 215 h 678"/>
                <a:gd name="T42" fmla="*/ 463 w 676"/>
                <a:gd name="T43" fmla="*/ 255 h 678"/>
                <a:gd name="T44" fmla="*/ 532 w 676"/>
                <a:gd name="T45" fmla="*/ 264 h 678"/>
                <a:gd name="T46" fmla="*/ 478 w 676"/>
                <a:gd name="T47" fmla="*/ 160 h 678"/>
                <a:gd name="T48" fmla="*/ 517 w 676"/>
                <a:gd name="T49" fmla="*/ 199 h 678"/>
                <a:gd name="T50" fmla="*/ 517 w 676"/>
                <a:gd name="T51" fmla="*/ 185 h 678"/>
                <a:gd name="T52" fmla="*/ 258 w 676"/>
                <a:gd name="T53" fmla="*/ 678 h 678"/>
                <a:gd name="T54" fmla="*/ 233 w 676"/>
                <a:gd name="T55" fmla="*/ 615 h 678"/>
                <a:gd name="T56" fmla="*/ 105 w 676"/>
                <a:gd name="T57" fmla="*/ 628 h 678"/>
                <a:gd name="T58" fmla="*/ 90 w 676"/>
                <a:gd name="T59" fmla="*/ 522 h 678"/>
                <a:gd name="T60" fmla="*/ 0 w 676"/>
                <a:gd name="T61" fmla="*/ 424 h 678"/>
                <a:gd name="T62" fmla="*/ 14 w 676"/>
                <a:gd name="T63" fmla="*/ 350 h 678"/>
                <a:gd name="T64" fmla="*/ 91 w 676"/>
                <a:gd name="T65" fmla="*/ 229 h 678"/>
                <a:gd name="T66" fmla="*/ 159 w 676"/>
                <a:gd name="T67" fmla="*/ 185 h 678"/>
                <a:gd name="T68" fmla="*/ 276 w 676"/>
                <a:gd name="T69" fmla="*/ 222 h 678"/>
                <a:gd name="T70" fmla="*/ 378 w 676"/>
                <a:gd name="T71" fmla="*/ 190 h 678"/>
                <a:gd name="T72" fmla="*/ 423 w 676"/>
                <a:gd name="T73" fmla="*/ 310 h 678"/>
                <a:gd name="T74" fmla="*/ 513 w 676"/>
                <a:gd name="T75" fmla="*/ 370 h 678"/>
                <a:gd name="T76" fmla="*/ 456 w 676"/>
                <a:gd name="T77" fmla="*/ 419 h 678"/>
                <a:gd name="T78" fmla="*/ 494 w 676"/>
                <a:gd name="T79" fmla="*/ 527 h 678"/>
                <a:gd name="T80" fmla="*/ 393 w 676"/>
                <a:gd name="T81" fmla="*/ 564 h 678"/>
                <a:gd name="T82" fmla="*/ 325 w 676"/>
                <a:gd name="T83" fmla="*/ 669 h 678"/>
                <a:gd name="T84" fmla="*/ 165 w 676"/>
                <a:gd name="T85" fmla="*/ 577 h 678"/>
                <a:gd name="T86" fmla="*/ 261 w 676"/>
                <a:gd name="T87" fmla="*/ 664 h 678"/>
                <a:gd name="T88" fmla="*/ 323 w 676"/>
                <a:gd name="T89" fmla="*/ 591 h 678"/>
                <a:gd name="T90" fmla="*/ 449 w 676"/>
                <a:gd name="T91" fmla="*/ 573 h 678"/>
                <a:gd name="T92" fmla="*/ 432 w 676"/>
                <a:gd name="T93" fmla="*/ 479 h 678"/>
                <a:gd name="T94" fmla="*/ 445 w 676"/>
                <a:gd name="T95" fmla="*/ 396 h 678"/>
                <a:gd name="T96" fmla="*/ 421 w 676"/>
                <a:gd name="T97" fmla="*/ 325 h 678"/>
                <a:gd name="T98" fmla="*/ 356 w 676"/>
                <a:gd name="T99" fmla="*/ 258 h 678"/>
                <a:gd name="T100" fmla="*/ 286 w 676"/>
                <a:gd name="T101" fmla="*/ 233 h 678"/>
                <a:gd name="T102" fmla="*/ 199 w 676"/>
                <a:gd name="T103" fmla="*/ 245 h 678"/>
                <a:gd name="T104" fmla="*/ 106 w 676"/>
                <a:gd name="T105" fmla="*/ 228 h 678"/>
                <a:gd name="T106" fmla="*/ 85 w 676"/>
                <a:gd name="T107" fmla="*/ 357 h 678"/>
                <a:gd name="T108" fmla="*/ 14 w 676"/>
                <a:gd name="T109" fmla="*/ 419 h 678"/>
                <a:gd name="T110" fmla="*/ 104 w 676"/>
                <a:gd name="T111" fmla="*/ 519 h 678"/>
                <a:gd name="T112" fmla="*/ 109 w 676"/>
                <a:gd name="T113" fmla="*/ 613 h 678"/>
                <a:gd name="T114" fmla="*/ 258 w 676"/>
                <a:gd name="T115" fmla="*/ 484 h 678"/>
                <a:gd name="T116" fmla="*/ 323 w 676"/>
                <a:gd name="T117" fmla="*/ 419 h 678"/>
                <a:gd name="T118" fmla="*/ 207 w 676"/>
                <a:gd name="T119" fmla="*/ 419 h 678"/>
                <a:gd name="T120" fmla="*/ 258 w 676"/>
                <a:gd name="T121" fmla="*/ 368 h 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676" h="678">
                  <a:moveTo>
                    <a:pt x="556" y="314"/>
                  </a:moveTo>
                  <a:cubicBezTo>
                    <a:pt x="554" y="314"/>
                    <a:pt x="551" y="313"/>
                    <a:pt x="550" y="311"/>
                  </a:cubicBezTo>
                  <a:cubicBezTo>
                    <a:pt x="529" y="279"/>
                    <a:pt x="529" y="279"/>
                    <a:pt x="529" y="279"/>
                  </a:cubicBezTo>
                  <a:cubicBezTo>
                    <a:pt x="508" y="281"/>
                    <a:pt x="488" y="277"/>
                    <a:pt x="468" y="269"/>
                  </a:cubicBezTo>
                  <a:cubicBezTo>
                    <a:pt x="439" y="293"/>
                    <a:pt x="439" y="293"/>
                    <a:pt x="439" y="293"/>
                  </a:cubicBezTo>
                  <a:cubicBezTo>
                    <a:pt x="437" y="295"/>
                    <a:pt x="433" y="295"/>
                    <a:pt x="431" y="293"/>
                  </a:cubicBezTo>
                  <a:cubicBezTo>
                    <a:pt x="412" y="281"/>
                    <a:pt x="397" y="266"/>
                    <a:pt x="385" y="248"/>
                  </a:cubicBezTo>
                  <a:cubicBezTo>
                    <a:pt x="383" y="245"/>
                    <a:pt x="383" y="242"/>
                    <a:pt x="385" y="239"/>
                  </a:cubicBezTo>
                  <a:cubicBezTo>
                    <a:pt x="409" y="210"/>
                    <a:pt x="409" y="210"/>
                    <a:pt x="409" y="210"/>
                  </a:cubicBezTo>
                  <a:cubicBezTo>
                    <a:pt x="401" y="194"/>
                    <a:pt x="398" y="177"/>
                    <a:pt x="398" y="160"/>
                  </a:cubicBezTo>
                  <a:cubicBezTo>
                    <a:pt x="398" y="155"/>
                    <a:pt x="398" y="151"/>
                    <a:pt x="398" y="146"/>
                  </a:cubicBezTo>
                  <a:cubicBezTo>
                    <a:pt x="367" y="125"/>
                    <a:pt x="367" y="125"/>
                    <a:pt x="367" y="125"/>
                  </a:cubicBezTo>
                  <a:cubicBezTo>
                    <a:pt x="364" y="124"/>
                    <a:pt x="363" y="120"/>
                    <a:pt x="364" y="117"/>
                  </a:cubicBezTo>
                  <a:cubicBezTo>
                    <a:pt x="370" y="96"/>
                    <a:pt x="380" y="77"/>
                    <a:pt x="393" y="60"/>
                  </a:cubicBezTo>
                  <a:cubicBezTo>
                    <a:pt x="395" y="57"/>
                    <a:pt x="399" y="57"/>
                    <a:pt x="401" y="58"/>
                  </a:cubicBezTo>
                  <a:cubicBezTo>
                    <a:pt x="437" y="71"/>
                    <a:pt x="437" y="71"/>
                    <a:pt x="437" y="71"/>
                  </a:cubicBezTo>
                  <a:cubicBezTo>
                    <a:pt x="453" y="57"/>
                    <a:pt x="472" y="47"/>
                    <a:pt x="494" y="43"/>
                  </a:cubicBezTo>
                  <a:cubicBezTo>
                    <a:pt x="504" y="6"/>
                    <a:pt x="504" y="6"/>
                    <a:pt x="504" y="6"/>
                  </a:cubicBezTo>
                  <a:cubicBezTo>
                    <a:pt x="505" y="3"/>
                    <a:pt x="507" y="1"/>
                    <a:pt x="510" y="1"/>
                  </a:cubicBezTo>
                  <a:cubicBezTo>
                    <a:pt x="532" y="0"/>
                    <a:pt x="554" y="4"/>
                    <a:pt x="574" y="11"/>
                  </a:cubicBezTo>
                  <a:cubicBezTo>
                    <a:pt x="577" y="12"/>
                    <a:pt x="579" y="15"/>
                    <a:pt x="579" y="18"/>
                  </a:cubicBezTo>
                  <a:cubicBezTo>
                    <a:pt x="577" y="56"/>
                    <a:pt x="577" y="56"/>
                    <a:pt x="577" y="56"/>
                  </a:cubicBezTo>
                  <a:cubicBezTo>
                    <a:pt x="596" y="67"/>
                    <a:pt x="611" y="83"/>
                    <a:pt x="621" y="102"/>
                  </a:cubicBezTo>
                  <a:cubicBezTo>
                    <a:pt x="659" y="100"/>
                    <a:pt x="659" y="100"/>
                    <a:pt x="659" y="100"/>
                  </a:cubicBezTo>
                  <a:cubicBezTo>
                    <a:pt x="662" y="100"/>
                    <a:pt x="665" y="102"/>
                    <a:pt x="666" y="105"/>
                  </a:cubicBezTo>
                  <a:cubicBezTo>
                    <a:pt x="673" y="122"/>
                    <a:pt x="676" y="141"/>
                    <a:pt x="676" y="160"/>
                  </a:cubicBezTo>
                  <a:cubicBezTo>
                    <a:pt x="676" y="163"/>
                    <a:pt x="676" y="166"/>
                    <a:pt x="676" y="169"/>
                  </a:cubicBezTo>
                  <a:cubicBezTo>
                    <a:pt x="676" y="172"/>
                    <a:pt x="674" y="174"/>
                    <a:pt x="671" y="175"/>
                  </a:cubicBezTo>
                  <a:cubicBezTo>
                    <a:pt x="634" y="185"/>
                    <a:pt x="634" y="185"/>
                    <a:pt x="634" y="185"/>
                  </a:cubicBezTo>
                  <a:cubicBezTo>
                    <a:pt x="629" y="206"/>
                    <a:pt x="619" y="225"/>
                    <a:pt x="605" y="241"/>
                  </a:cubicBezTo>
                  <a:cubicBezTo>
                    <a:pt x="618" y="277"/>
                    <a:pt x="618" y="277"/>
                    <a:pt x="618" y="277"/>
                  </a:cubicBezTo>
                  <a:cubicBezTo>
                    <a:pt x="619" y="279"/>
                    <a:pt x="618" y="283"/>
                    <a:pt x="616" y="284"/>
                  </a:cubicBezTo>
                  <a:cubicBezTo>
                    <a:pt x="598" y="298"/>
                    <a:pt x="579" y="308"/>
                    <a:pt x="558" y="314"/>
                  </a:cubicBezTo>
                  <a:cubicBezTo>
                    <a:pt x="557" y="314"/>
                    <a:pt x="557" y="314"/>
                    <a:pt x="556" y="314"/>
                  </a:cubicBezTo>
                  <a:close/>
                  <a:moveTo>
                    <a:pt x="533" y="264"/>
                  </a:moveTo>
                  <a:cubicBezTo>
                    <a:pt x="535" y="264"/>
                    <a:pt x="538" y="265"/>
                    <a:pt x="539" y="267"/>
                  </a:cubicBezTo>
                  <a:cubicBezTo>
                    <a:pt x="559" y="299"/>
                    <a:pt x="559" y="299"/>
                    <a:pt x="559" y="299"/>
                  </a:cubicBezTo>
                  <a:cubicBezTo>
                    <a:pt x="575" y="294"/>
                    <a:pt x="590" y="286"/>
                    <a:pt x="603" y="277"/>
                  </a:cubicBezTo>
                  <a:cubicBezTo>
                    <a:pt x="590" y="242"/>
                    <a:pt x="590" y="242"/>
                    <a:pt x="590" y="242"/>
                  </a:cubicBezTo>
                  <a:cubicBezTo>
                    <a:pt x="589" y="239"/>
                    <a:pt x="590" y="236"/>
                    <a:pt x="592" y="234"/>
                  </a:cubicBezTo>
                  <a:cubicBezTo>
                    <a:pt x="607" y="219"/>
                    <a:pt x="617" y="199"/>
                    <a:pt x="621" y="178"/>
                  </a:cubicBezTo>
                  <a:cubicBezTo>
                    <a:pt x="621" y="175"/>
                    <a:pt x="623" y="173"/>
                    <a:pt x="626" y="172"/>
                  </a:cubicBezTo>
                  <a:cubicBezTo>
                    <a:pt x="662" y="163"/>
                    <a:pt x="662" y="163"/>
                    <a:pt x="662" y="163"/>
                  </a:cubicBezTo>
                  <a:cubicBezTo>
                    <a:pt x="662" y="162"/>
                    <a:pt x="662" y="161"/>
                    <a:pt x="662" y="160"/>
                  </a:cubicBezTo>
                  <a:cubicBezTo>
                    <a:pt x="662" y="144"/>
                    <a:pt x="660" y="129"/>
                    <a:pt x="655" y="114"/>
                  </a:cubicBezTo>
                  <a:cubicBezTo>
                    <a:pt x="618" y="116"/>
                    <a:pt x="618" y="116"/>
                    <a:pt x="618" y="116"/>
                  </a:cubicBezTo>
                  <a:cubicBezTo>
                    <a:pt x="615" y="116"/>
                    <a:pt x="612" y="114"/>
                    <a:pt x="611" y="112"/>
                  </a:cubicBezTo>
                  <a:cubicBezTo>
                    <a:pt x="601" y="92"/>
                    <a:pt x="586" y="77"/>
                    <a:pt x="566" y="67"/>
                  </a:cubicBezTo>
                  <a:cubicBezTo>
                    <a:pt x="564" y="65"/>
                    <a:pt x="562" y="63"/>
                    <a:pt x="563" y="60"/>
                  </a:cubicBezTo>
                  <a:cubicBezTo>
                    <a:pt x="565" y="23"/>
                    <a:pt x="565" y="23"/>
                    <a:pt x="565" y="23"/>
                  </a:cubicBezTo>
                  <a:cubicBezTo>
                    <a:pt x="549" y="17"/>
                    <a:pt x="533" y="15"/>
                    <a:pt x="517" y="15"/>
                  </a:cubicBezTo>
                  <a:cubicBezTo>
                    <a:pt x="517" y="15"/>
                    <a:pt x="516" y="15"/>
                    <a:pt x="516" y="15"/>
                  </a:cubicBezTo>
                  <a:cubicBezTo>
                    <a:pt x="506" y="51"/>
                    <a:pt x="506" y="51"/>
                    <a:pt x="506" y="51"/>
                  </a:cubicBezTo>
                  <a:cubicBezTo>
                    <a:pt x="505" y="53"/>
                    <a:pt x="503" y="55"/>
                    <a:pt x="500" y="56"/>
                  </a:cubicBezTo>
                  <a:cubicBezTo>
                    <a:pt x="479" y="59"/>
                    <a:pt x="459" y="69"/>
                    <a:pt x="443" y="84"/>
                  </a:cubicBezTo>
                  <a:cubicBezTo>
                    <a:pt x="442" y="86"/>
                    <a:pt x="439" y="87"/>
                    <a:pt x="436" y="86"/>
                  </a:cubicBezTo>
                  <a:cubicBezTo>
                    <a:pt x="401" y="73"/>
                    <a:pt x="401" y="73"/>
                    <a:pt x="401" y="73"/>
                  </a:cubicBezTo>
                  <a:cubicBezTo>
                    <a:pt x="391" y="86"/>
                    <a:pt x="384" y="101"/>
                    <a:pt x="379" y="116"/>
                  </a:cubicBezTo>
                  <a:cubicBezTo>
                    <a:pt x="410" y="137"/>
                    <a:pt x="410" y="137"/>
                    <a:pt x="410" y="137"/>
                  </a:cubicBezTo>
                  <a:cubicBezTo>
                    <a:pt x="412" y="138"/>
                    <a:pt x="413" y="141"/>
                    <a:pt x="413" y="144"/>
                  </a:cubicBezTo>
                  <a:cubicBezTo>
                    <a:pt x="412" y="149"/>
                    <a:pt x="412" y="154"/>
                    <a:pt x="412" y="160"/>
                  </a:cubicBezTo>
                  <a:cubicBezTo>
                    <a:pt x="412" y="176"/>
                    <a:pt x="415" y="193"/>
                    <a:pt x="423" y="207"/>
                  </a:cubicBezTo>
                  <a:cubicBezTo>
                    <a:pt x="424" y="210"/>
                    <a:pt x="424" y="213"/>
                    <a:pt x="422" y="215"/>
                  </a:cubicBezTo>
                  <a:cubicBezTo>
                    <a:pt x="399" y="244"/>
                    <a:pt x="399" y="244"/>
                    <a:pt x="399" y="244"/>
                  </a:cubicBezTo>
                  <a:cubicBezTo>
                    <a:pt x="409" y="258"/>
                    <a:pt x="421" y="269"/>
                    <a:pt x="434" y="279"/>
                  </a:cubicBezTo>
                  <a:cubicBezTo>
                    <a:pt x="463" y="255"/>
                    <a:pt x="463" y="255"/>
                    <a:pt x="463" y="255"/>
                  </a:cubicBezTo>
                  <a:cubicBezTo>
                    <a:pt x="465" y="254"/>
                    <a:pt x="468" y="253"/>
                    <a:pt x="471" y="254"/>
                  </a:cubicBezTo>
                  <a:cubicBezTo>
                    <a:pt x="485" y="262"/>
                    <a:pt x="501" y="265"/>
                    <a:pt x="517" y="265"/>
                  </a:cubicBezTo>
                  <a:cubicBezTo>
                    <a:pt x="522" y="265"/>
                    <a:pt x="527" y="265"/>
                    <a:pt x="532" y="264"/>
                  </a:cubicBezTo>
                  <a:cubicBezTo>
                    <a:pt x="532" y="264"/>
                    <a:pt x="533" y="264"/>
                    <a:pt x="533" y="264"/>
                  </a:cubicBezTo>
                  <a:close/>
                  <a:moveTo>
                    <a:pt x="517" y="199"/>
                  </a:moveTo>
                  <a:cubicBezTo>
                    <a:pt x="496" y="199"/>
                    <a:pt x="478" y="181"/>
                    <a:pt x="478" y="160"/>
                  </a:cubicBezTo>
                  <a:cubicBezTo>
                    <a:pt x="478" y="138"/>
                    <a:pt x="496" y="121"/>
                    <a:pt x="517" y="121"/>
                  </a:cubicBezTo>
                  <a:cubicBezTo>
                    <a:pt x="539" y="121"/>
                    <a:pt x="556" y="138"/>
                    <a:pt x="556" y="160"/>
                  </a:cubicBezTo>
                  <a:cubicBezTo>
                    <a:pt x="556" y="181"/>
                    <a:pt x="539" y="199"/>
                    <a:pt x="517" y="199"/>
                  </a:cubicBezTo>
                  <a:close/>
                  <a:moveTo>
                    <a:pt x="517" y="135"/>
                  </a:moveTo>
                  <a:cubicBezTo>
                    <a:pt x="503" y="135"/>
                    <a:pt x="492" y="146"/>
                    <a:pt x="492" y="160"/>
                  </a:cubicBezTo>
                  <a:cubicBezTo>
                    <a:pt x="492" y="174"/>
                    <a:pt x="503" y="185"/>
                    <a:pt x="517" y="185"/>
                  </a:cubicBezTo>
                  <a:cubicBezTo>
                    <a:pt x="531" y="185"/>
                    <a:pt x="542" y="174"/>
                    <a:pt x="542" y="160"/>
                  </a:cubicBezTo>
                  <a:cubicBezTo>
                    <a:pt x="542" y="146"/>
                    <a:pt x="531" y="135"/>
                    <a:pt x="517" y="135"/>
                  </a:cubicBezTo>
                  <a:close/>
                  <a:moveTo>
                    <a:pt x="258" y="678"/>
                  </a:moveTo>
                  <a:cubicBezTo>
                    <a:pt x="256" y="678"/>
                    <a:pt x="256" y="678"/>
                    <a:pt x="256" y="678"/>
                  </a:cubicBezTo>
                  <a:cubicBezTo>
                    <a:pt x="252" y="678"/>
                    <a:pt x="250" y="676"/>
                    <a:pt x="249" y="673"/>
                  </a:cubicBezTo>
                  <a:cubicBezTo>
                    <a:pt x="233" y="615"/>
                    <a:pt x="233" y="615"/>
                    <a:pt x="233" y="615"/>
                  </a:cubicBezTo>
                  <a:cubicBezTo>
                    <a:pt x="208" y="612"/>
                    <a:pt x="184" y="604"/>
                    <a:pt x="162" y="592"/>
                  </a:cubicBezTo>
                  <a:cubicBezTo>
                    <a:pt x="113" y="628"/>
                    <a:pt x="113" y="628"/>
                    <a:pt x="113" y="628"/>
                  </a:cubicBezTo>
                  <a:cubicBezTo>
                    <a:pt x="111" y="630"/>
                    <a:pt x="108" y="630"/>
                    <a:pt x="105" y="628"/>
                  </a:cubicBezTo>
                  <a:cubicBezTo>
                    <a:pt x="86" y="614"/>
                    <a:pt x="69" y="598"/>
                    <a:pt x="55" y="579"/>
                  </a:cubicBezTo>
                  <a:cubicBezTo>
                    <a:pt x="53" y="577"/>
                    <a:pt x="53" y="574"/>
                    <a:pt x="55" y="571"/>
                  </a:cubicBezTo>
                  <a:cubicBezTo>
                    <a:pt x="90" y="522"/>
                    <a:pt x="90" y="522"/>
                    <a:pt x="90" y="522"/>
                  </a:cubicBezTo>
                  <a:cubicBezTo>
                    <a:pt x="75" y="499"/>
                    <a:pt x="66" y="474"/>
                    <a:pt x="62" y="447"/>
                  </a:cubicBezTo>
                  <a:cubicBezTo>
                    <a:pt x="5" y="431"/>
                    <a:pt x="5" y="431"/>
                    <a:pt x="5" y="431"/>
                  </a:cubicBezTo>
                  <a:cubicBezTo>
                    <a:pt x="2" y="430"/>
                    <a:pt x="0" y="427"/>
                    <a:pt x="0" y="424"/>
                  </a:cubicBezTo>
                  <a:cubicBezTo>
                    <a:pt x="0" y="423"/>
                    <a:pt x="0" y="421"/>
                    <a:pt x="0" y="419"/>
                  </a:cubicBezTo>
                  <a:cubicBezTo>
                    <a:pt x="0" y="398"/>
                    <a:pt x="2" y="376"/>
                    <a:pt x="8" y="355"/>
                  </a:cubicBezTo>
                  <a:cubicBezTo>
                    <a:pt x="8" y="352"/>
                    <a:pt x="11" y="350"/>
                    <a:pt x="14" y="350"/>
                  </a:cubicBezTo>
                  <a:cubicBezTo>
                    <a:pt x="74" y="348"/>
                    <a:pt x="74" y="348"/>
                    <a:pt x="74" y="348"/>
                  </a:cubicBezTo>
                  <a:cubicBezTo>
                    <a:pt x="83" y="324"/>
                    <a:pt x="97" y="302"/>
                    <a:pt x="114" y="283"/>
                  </a:cubicBezTo>
                  <a:cubicBezTo>
                    <a:pt x="91" y="229"/>
                    <a:pt x="91" y="229"/>
                    <a:pt x="91" y="229"/>
                  </a:cubicBezTo>
                  <a:cubicBezTo>
                    <a:pt x="89" y="226"/>
                    <a:pt x="90" y="223"/>
                    <a:pt x="93" y="221"/>
                  </a:cubicBezTo>
                  <a:cubicBezTo>
                    <a:pt x="110" y="206"/>
                    <a:pt x="130" y="193"/>
                    <a:pt x="151" y="184"/>
                  </a:cubicBezTo>
                  <a:cubicBezTo>
                    <a:pt x="154" y="182"/>
                    <a:pt x="157" y="183"/>
                    <a:pt x="159" y="185"/>
                  </a:cubicBezTo>
                  <a:cubicBezTo>
                    <a:pt x="199" y="230"/>
                    <a:pt x="199" y="230"/>
                    <a:pt x="199" y="230"/>
                  </a:cubicBezTo>
                  <a:cubicBezTo>
                    <a:pt x="218" y="224"/>
                    <a:pt x="238" y="221"/>
                    <a:pt x="258" y="221"/>
                  </a:cubicBezTo>
                  <a:cubicBezTo>
                    <a:pt x="264" y="221"/>
                    <a:pt x="270" y="222"/>
                    <a:pt x="276" y="222"/>
                  </a:cubicBezTo>
                  <a:cubicBezTo>
                    <a:pt x="304" y="170"/>
                    <a:pt x="304" y="170"/>
                    <a:pt x="304" y="170"/>
                  </a:cubicBezTo>
                  <a:cubicBezTo>
                    <a:pt x="306" y="167"/>
                    <a:pt x="309" y="165"/>
                    <a:pt x="312" y="166"/>
                  </a:cubicBezTo>
                  <a:cubicBezTo>
                    <a:pt x="335" y="171"/>
                    <a:pt x="357" y="179"/>
                    <a:pt x="378" y="190"/>
                  </a:cubicBezTo>
                  <a:cubicBezTo>
                    <a:pt x="380" y="191"/>
                    <a:pt x="382" y="194"/>
                    <a:pt x="381" y="197"/>
                  </a:cubicBezTo>
                  <a:cubicBezTo>
                    <a:pt x="371" y="256"/>
                    <a:pt x="371" y="256"/>
                    <a:pt x="371" y="256"/>
                  </a:cubicBezTo>
                  <a:cubicBezTo>
                    <a:pt x="391" y="271"/>
                    <a:pt x="410" y="289"/>
                    <a:pt x="423" y="310"/>
                  </a:cubicBezTo>
                  <a:cubicBezTo>
                    <a:pt x="482" y="300"/>
                    <a:pt x="482" y="300"/>
                    <a:pt x="482" y="300"/>
                  </a:cubicBezTo>
                  <a:cubicBezTo>
                    <a:pt x="485" y="299"/>
                    <a:pt x="489" y="301"/>
                    <a:pt x="490" y="303"/>
                  </a:cubicBezTo>
                  <a:cubicBezTo>
                    <a:pt x="500" y="325"/>
                    <a:pt x="508" y="347"/>
                    <a:pt x="513" y="370"/>
                  </a:cubicBezTo>
                  <a:cubicBezTo>
                    <a:pt x="513" y="373"/>
                    <a:pt x="512" y="376"/>
                    <a:pt x="509" y="378"/>
                  </a:cubicBezTo>
                  <a:cubicBezTo>
                    <a:pt x="456" y="406"/>
                    <a:pt x="456" y="406"/>
                    <a:pt x="456" y="406"/>
                  </a:cubicBezTo>
                  <a:cubicBezTo>
                    <a:pt x="456" y="410"/>
                    <a:pt x="456" y="415"/>
                    <a:pt x="456" y="419"/>
                  </a:cubicBezTo>
                  <a:cubicBezTo>
                    <a:pt x="456" y="439"/>
                    <a:pt x="453" y="459"/>
                    <a:pt x="447" y="479"/>
                  </a:cubicBezTo>
                  <a:cubicBezTo>
                    <a:pt x="492" y="519"/>
                    <a:pt x="492" y="519"/>
                    <a:pt x="492" y="519"/>
                  </a:cubicBezTo>
                  <a:cubicBezTo>
                    <a:pt x="494" y="521"/>
                    <a:pt x="495" y="524"/>
                    <a:pt x="494" y="527"/>
                  </a:cubicBezTo>
                  <a:cubicBezTo>
                    <a:pt x="484" y="548"/>
                    <a:pt x="471" y="568"/>
                    <a:pt x="456" y="586"/>
                  </a:cubicBezTo>
                  <a:cubicBezTo>
                    <a:pt x="454" y="589"/>
                    <a:pt x="451" y="589"/>
                    <a:pt x="448" y="588"/>
                  </a:cubicBezTo>
                  <a:cubicBezTo>
                    <a:pt x="393" y="564"/>
                    <a:pt x="393" y="564"/>
                    <a:pt x="393" y="564"/>
                  </a:cubicBezTo>
                  <a:cubicBezTo>
                    <a:pt x="375" y="581"/>
                    <a:pt x="355" y="594"/>
                    <a:pt x="333" y="603"/>
                  </a:cubicBezTo>
                  <a:cubicBezTo>
                    <a:pt x="330" y="663"/>
                    <a:pt x="330" y="663"/>
                    <a:pt x="330" y="663"/>
                  </a:cubicBezTo>
                  <a:cubicBezTo>
                    <a:pt x="330" y="666"/>
                    <a:pt x="328" y="669"/>
                    <a:pt x="325" y="669"/>
                  </a:cubicBezTo>
                  <a:cubicBezTo>
                    <a:pt x="303" y="675"/>
                    <a:pt x="281" y="678"/>
                    <a:pt x="258" y="678"/>
                  </a:cubicBezTo>
                  <a:close/>
                  <a:moveTo>
                    <a:pt x="161" y="576"/>
                  </a:moveTo>
                  <a:cubicBezTo>
                    <a:pt x="162" y="576"/>
                    <a:pt x="164" y="577"/>
                    <a:pt x="165" y="577"/>
                  </a:cubicBezTo>
                  <a:cubicBezTo>
                    <a:pt x="188" y="591"/>
                    <a:pt x="213" y="599"/>
                    <a:pt x="239" y="602"/>
                  </a:cubicBezTo>
                  <a:cubicBezTo>
                    <a:pt x="242" y="602"/>
                    <a:pt x="244" y="604"/>
                    <a:pt x="245" y="607"/>
                  </a:cubicBezTo>
                  <a:cubicBezTo>
                    <a:pt x="261" y="664"/>
                    <a:pt x="261" y="664"/>
                    <a:pt x="261" y="664"/>
                  </a:cubicBezTo>
                  <a:cubicBezTo>
                    <a:pt x="280" y="664"/>
                    <a:pt x="298" y="661"/>
                    <a:pt x="316" y="657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5"/>
                    <a:pt x="321" y="592"/>
                    <a:pt x="323" y="591"/>
                  </a:cubicBezTo>
                  <a:cubicBezTo>
                    <a:pt x="347" y="582"/>
                    <a:pt x="368" y="569"/>
                    <a:pt x="387" y="551"/>
                  </a:cubicBezTo>
                  <a:cubicBezTo>
                    <a:pt x="389" y="549"/>
                    <a:pt x="392" y="548"/>
                    <a:pt x="394" y="549"/>
                  </a:cubicBezTo>
                  <a:cubicBezTo>
                    <a:pt x="449" y="573"/>
                    <a:pt x="449" y="573"/>
                    <a:pt x="449" y="573"/>
                  </a:cubicBezTo>
                  <a:cubicBezTo>
                    <a:pt x="461" y="558"/>
                    <a:pt x="471" y="542"/>
                    <a:pt x="479" y="526"/>
                  </a:cubicBezTo>
                  <a:cubicBezTo>
                    <a:pt x="434" y="486"/>
                    <a:pt x="434" y="486"/>
                    <a:pt x="434" y="486"/>
                  </a:cubicBezTo>
                  <a:cubicBezTo>
                    <a:pt x="432" y="484"/>
                    <a:pt x="431" y="481"/>
                    <a:pt x="432" y="479"/>
                  </a:cubicBezTo>
                  <a:cubicBezTo>
                    <a:pt x="439" y="459"/>
                    <a:pt x="442" y="439"/>
                    <a:pt x="442" y="419"/>
                  </a:cubicBezTo>
                  <a:cubicBezTo>
                    <a:pt x="442" y="414"/>
                    <a:pt x="442" y="408"/>
                    <a:pt x="441" y="402"/>
                  </a:cubicBezTo>
                  <a:cubicBezTo>
                    <a:pt x="441" y="400"/>
                    <a:pt x="443" y="397"/>
                    <a:pt x="445" y="396"/>
                  </a:cubicBezTo>
                  <a:cubicBezTo>
                    <a:pt x="498" y="368"/>
                    <a:pt x="498" y="368"/>
                    <a:pt x="498" y="368"/>
                  </a:cubicBezTo>
                  <a:cubicBezTo>
                    <a:pt x="494" y="349"/>
                    <a:pt x="488" y="331"/>
                    <a:pt x="480" y="314"/>
                  </a:cubicBezTo>
                  <a:cubicBezTo>
                    <a:pt x="421" y="325"/>
                    <a:pt x="421" y="325"/>
                    <a:pt x="421" y="325"/>
                  </a:cubicBezTo>
                  <a:cubicBezTo>
                    <a:pt x="419" y="325"/>
                    <a:pt x="416" y="324"/>
                    <a:pt x="414" y="322"/>
                  </a:cubicBezTo>
                  <a:cubicBezTo>
                    <a:pt x="400" y="299"/>
                    <a:pt x="381" y="280"/>
                    <a:pt x="359" y="265"/>
                  </a:cubicBezTo>
                  <a:cubicBezTo>
                    <a:pt x="357" y="264"/>
                    <a:pt x="356" y="261"/>
                    <a:pt x="356" y="258"/>
                  </a:cubicBezTo>
                  <a:cubicBezTo>
                    <a:pt x="367" y="200"/>
                    <a:pt x="367" y="200"/>
                    <a:pt x="367" y="200"/>
                  </a:cubicBezTo>
                  <a:cubicBezTo>
                    <a:pt x="350" y="191"/>
                    <a:pt x="332" y="185"/>
                    <a:pt x="314" y="181"/>
                  </a:cubicBezTo>
                  <a:cubicBezTo>
                    <a:pt x="286" y="233"/>
                    <a:pt x="286" y="233"/>
                    <a:pt x="286" y="233"/>
                  </a:cubicBezTo>
                  <a:cubicBezTo>
                    <a:pt x="285" y="235"/>
                    <a:pt x="282" y="237"/>
                    <a:pt x="279" y="237"/>
                  </a:cubicBezTo>
                  <a:cubicBezTo>
                    <a:pt x="272" y="236"/>
                    <a:pt x="265" y="235"/>
                    <a:pt x="258" y="235"/>
                  </a:cubicBezTo>
                  <a:cubicBezTo>
                    <a:pt x="238" y="235"/>
                    <a:pt x="218" y="239"/>
                    <a:pt x="199" y="245"/>
                  </a:cubicBezTo>
                  <a:cubicBezTo>
                    <a:pt x="197" y="246"/>
                    <a:pt x="194" y="245"/>
                    <a:pt x="192" y="243"/>
                  </a:cubicBezTo>
                  <a:cubicBezTo>
                    <a:pt x="152" y="198"/>
                    <a:pt x="152" y="198"/>
                    <a:pt x="152" y="198"/>
                  </a:cubicBezTo>
                  <a:cubicBezTo>
                    <a:pt x="136" y="207"/>
                    <a:pt x="120" y="216"/>
                    <a:pt x="106" y="228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0" y="285"/>
                    <a:pt x="130" y="288"/>
                    <a:pt x="128" y="290"/>
                  </a:cubicBezTo>
                  <a:cubicBezTo>
                    <a:pt x="109" y="309"/>
                    <a:pt x="94" y="332"/>
                    <a:pt x="85" y="357"/>
                  </a:cubicBezTo>
                  <a:cubicBezTo>
                    <a:pt x="84" y="360"/>
                    <a:pt x="82" y="361"/>
                    <a:pt x="79" y="362"/>
                  </a:cubicBezTo>
                  <a:cubicBezTo>
                    <a:pt x="20" y="364"/>
                    <a:pt x="20" y="364"/>
                    <a:pt x="20" y="364"/>
                  </a:cubicBezTo>
                  <a:cubicBezTo>
                    <a:pt x="16" y="382"/>
                    <a:pt x="14" y="400"/>
                    <a:pt x="14" y="419"/>
                  </a:cubicBezTo>
                  <a:cubicBezTo>
                    <a:pt x="71" y="435"/>
                    <a:pt x="71" y="435"/>
                    <a:pt x="71" y="435"/>
                  </a:cubicBezTo>
                  <a:cubicBezTo>
                    <a:pt x="73" y="435"/>
                    <a:pt x="75" y="438"/>
                    <a:pt x="76" y="441"/>
                  </a:cubicBezTo>
                  <a:cubicBezTo>
                    <a:pt x="79" y="468"/>
                    <a:pt x="89" y="495"/>
                    <a:pt x="104" y="519"/>
                  </a:cubicBezTo>
                  <a:cubicBezTo>
                    <a:pt x="105" y="521"/>
                    <a:pt x="105" y="524"/>
                    <a:pt x="104" y="527"/>
                  </a:cubicBezTo>
                  <a:cubicBezTo>
                    <a:pt x="69" y="575"/>
                    <a:pt x="69" y="575"/>
                    <a:pt x="69" y="575"/>
                  </a:cubicBezTo>
                  <a:cubicBezTo>
                    <a:pt x="81" y="589"/>
                    <a:pt x="94" y="602"/>
                    <a:pt x="109" y="613"/>
                  </a:cubicBezTo>
                  <a:cubicBezTo>
                    <a:pt x="157" y="578"/>
                    <a:pt x="157" y="578"/>
                    <a:pt x="157" y="578"/>
                  </a:cubicBezTo>
                  <a:cubicBezTo>
                    <a:pt x="158" y="577"/>
                    <a:pt x="160" y="576"/>
                    <a:pt x="161" y="576"/>
                  </a:cubicBezTo>
                  <a:close/>
                  <a:moveTo>
                    <a:pt x="258" y="484"/>
                  </a:moveTo>
                  <a:cubicBezTo>
                    <a:pt x="223" y="484"/>
                    <a:pt x="193" y="455"/>
                    <a:pt x="193" y="419"/>
                  </a:cubicBezTo>
                  <a:cubicBezTo>
                    <a:pt x="193" y="383"/>
                    <a:pt x="223" y="354"/>
                    <a:pt x="258" y="354"/>
                  </a:cubicBezTo>
                  <a:cubicBezTo>
                    <a:pt x="294" y="354"/>
                    <a:pt x="323" y="383"/>
                    <a:pt x="323" y="419"/>
                  </a:cubicBezTo>
                  <a:cubicBezTo>
                    <a:pt x="323" y="455"/>
                    <a:pt x="294" y="484"/>
                    <a:pt x="258" y="484"/>
                  </a:cubicBezTo>
                  <a:close/>
                  <a:moveTo>
                    <a:pt x="258" y="368"/>
                  </a:moveTo>
                  <a:cubicBezTo>
                    <a:pt x="230" y="368"/>
                    <a:pt x="207" y="391"/>
                    <a:pt x="207" y="419"/>
                  </a:cubicBezTo>
                  <a:cubicBezTo>
                    <a:pt x="207" y="447"/>
                    <a:pt x="230" y="470"/>
                    <a:pt x="258" y="470"/>
                  </a:cubicBezTo>
                  <a:cubicBezTo>
                    <a:pt x="286" y="470"/>
                    <a:pt x="309" y="447"/>
                    <a:pt x="309" y="419"/>
                  </a:cubicBezTo>
                  <a:cubicBezTo>
                    <a:pt x="309" y="391"/>
                    <a:pt x="286" y="368"/>
                    <a:pt x="258" y="368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grpSp>
        <p:nvGrpSpPr>
          <p:cNvPr id="57" name="Gruppieren 56"/>
          <p:cNvGrpSpPr/>
          <p:nvPr/>
        </p:nvGrpSpPr>
        <p:grpSpPr>
          <a:xfrm>
            <a:off x="9248851" y="2705177"/>
            <a:ext cx="822960" cy="822960"/>
            <a:chOff x="2259614" y="4321997"/>
            <a:chExt cx="822960" cy="822960"/>
          </a:xfrm>
        </p:grpSpPr>
        <p:sp>
          <p:nvSpPr>
            <p:cNvPr id="44" name="Oval 18"/>
            <p:cNvSpPr>
              <a:spLocks noChangeArrowheads="1"/>
            </p:cNvSpPr>
            <p:nvPr/>
          </p:nvSpPr>
          <p:spPr bwMode="auto">
            <a:xfrm>
              <a:off x="2259614" y="4321997"/>
              <a:ext cx="822960" cy="82296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45" name="Freeform 42"/>
            <p:cNvSpPr>
              <a:spLocks noEditPoints="1"/>
            </p:cNvSpPr>
            <p:nvPr/>
          </p:nvSpPr>
          <p:spPr bwMode="auto">
            <a:xfrm>
              <a:off x="2429191" y="4450035"/>
              <a:ext cx="483807" cy="566885"/>
            </a:xfrm>
            <a:custGeom>
              <a:avLst/>
              <a:gdLst>
                <a:gd name="T0" fmla="*/ 122 w 419"/>
                <a:gd name="T1" fmla="*/ 141 h 491"/>
                <a:gd name="T2" fmla="*/ 156 w 419"/>
                <a:gd name="T3" fmla="*/ 239 h 491"/>
                <a:gd name="T4" fmla="*/ 169 w 419"/>
                <a:gd name="T5" fmla="*/ 276 h 491"/>
                <a:gd name="T6" fmla="*/ 194 w 419"/>
                <a:gd name="T7" fmla="*/ 293 h 491"/>
                <a:gd name="T8" fmla="*/ 220 w 419"/>
                <a:gd name="T9" fmla="*/ 276 h 491"/>
                <a:gd name="T10" fmla="*/ 233 w 419"/>
                <a:gd name="T11" fmla="*/ 239 h 491"/>
                <a:gd name="T12" fmla="*/ 266 w 419"/>
                <a:gd name="T13" fmla="*/ 141 h 491"/>
                <a:gd name="T14" fmla="*/ 194 w 419"/>
                <a:gd name="T15" fmla="*/ 283 h 491"/>
                <a:gd name="T16" fmla="*/ 207 w 419"/>
                <a:gd name="T17" fmla="*/ 276 h 491"/>
                <a:gd name="T18" fmla="*/ 223 w 419"/>
                <a:gd name="T19" fmla="*/ 263 h 491"/>
                <a:gd name="T20" fmla="*/ 169 w 419"/>
                <a:gd name="T21" fmla="*/ 266 h 491"/>
                <a:gd name="T22" fmla="*/ 165 w 419"/>
                <a:gd name="T23" fmla="*/ 244 h 491"/>
                <a:gd name="T24" fmla="*/ 223 w 419"/>
                <a:gd name="T25" fmla="*/ 263 h 491"/>
                <a:gd name="T26" fmla="*/ 223 w 419"/>
                <a:gd name="T27" fmla="*/ 235 h 491"/>
                <a:gd name="T28" fmla="*/ 199 w 419"/>
                <a:gd name="T29" fmla="*/ 168 h 491"/>
                <a:gd name="T30" fmla="*/ 221 w 419"/>
                <a:gd name="T31" fmla="*/ 134 h 491"/>
                <a:gd name="T32" fmla="*/ 194 w 419"/>
                <a:gd name="T33" fmla="*/ 159 h 491"/>
                <a:gd name="T34" fmla="*/ 168 w 419"/>
                <a:gd name="T35" fmla="*/ 134 h 491"/>
                <a:gd name="T36" fmla="*/ 190 w 419"/>
                <a:gd name="T37" fmla="*/ 168 h 491"/>
                <a:gd name="T38" fmla="*/ 165 w 419"/>
                <a:gd name="T39" fmla="*/ 235 h 491"/>
                <a:gd name="T40" fmla="*/ 132 w 419"/>
                <a:gd name="T41" fmla="*/ 141 h 491"/>
                <a:gd name="T42" fmla="*/ 257 w 419"/>
                <a:gd name="T43" fmla="*/ 141 h 491"/>
                <a:gd name="T44" fmla="*/ 407 w 419"/>
                <a:gd name="T45" fmla="*/ 250 h 491"/>
                <a:gd name="T46" fmla="*/ 374 w 419"/>
                <a:gd name="T47" fmla="*/ 183 h 491"/>
                <a:gd name="T48" fmla="*/ 374 w 419"/>
                <a:gd name="T49" fmla="*/ 118 h 491"/>
                <a:gd name="T50" fmla="*/ 193 w 419"/>
                <a:gd name="T51" fmla="*/ 0 h 491"/>
                <a:gd name="T52" fmla="*/ 61 w 419"/>
                <a:gd name="T53" fmla="*/ 288 h 491"/>
                <a:gd name="T54" fmla="*/ 72 w 419"/>
                <a:gd name="T55" fmla="*/ 454 h 491"/>
                <a:gd name="T56" fmla="*/ 197 w 419"/>
                <a:gd name="T57" fmla="*/ 491 h 491"/>
                <a:gd name="T58" fmla="*/ 259 w 419"/>
                <a:gd name="T59" fmla="*/ 480 h 491"/>
                <a:gd name="T60" fmla="*/ 345 w 419"/>
                <a:gd name="T61" fmla="*/ 413 h 491"/>
                <a:gd name="T62" fmla="*/ 378 w 419"/>
                <a:gd name="T63" fmla="*/ 391 h 491"/>
                <a:gd name="T64" fmla="*/ 378 w 419"/>
                <a:gd name="T65" fmla="*/ 360 h 491"/>
                <a:gd name="T66" fmla="*/ 388 w 419"/>
                <a:gd name="T67" fmla="*/ 339 h 491"/>
                <a:gd name="T68" fmla="*/ 394 w 419"/>
                <a:gd name="T69" fmla="*/ 319 h 491"/>
                <a:gd name="T70" fmla="*/ 390 w 419"/>
                <a:gd name="T71" fmla="*/ 304 h 491"/>
                <a:gd name="T72" fmla="*/ 409 w 419"/>
                <a:gd name="T73" fmla="*/ 289 h 491"/>
                <a:gd name="T74" fmla="*/ 407 w 419"/>
                <a:gd name="T75" fmla="*/ 250 h 491"/>
                <a:gd name="T76" fmla="*/ 385 w 419"/>
                <a:gd name="T77" fmla="*/ 286 h 491"/>
                <a:gd name="T78" fmla="*/ 380 w 419"/>
                <a:gd name="T79" fmla="*/ 307 h 491"/>
                <a:gd name="T80" fmla="*/ 385 w 419"/>
                <a:gd name="T81" fmla="*/ 317 h 491"/>
                <a:gd name="T82" fmla="*/ 376 w 419"/>
                <a:gd name="T83" fmla="*/ 331 h 491"/>
                <a:gd name="T84" fmla="*/ 375 w 419"/>
                <a:gd name="T85" fmla="*/ 344 h 491"/>
                <a:gd name="T86" fmla="*/ 369 w 419"/>
                <a:gd name="T87" fmla="*/ 365 h 491"/>
                <a:gd name="T88" fmla="*/ 347 w 419"/>
                <a:gd name="T89" fmla="*/ 404 h 491"/>
                <a:gd name="T90" fmla="*/ 261 w 419"/>
                <a:gd name="T91" fmla="*/ 386 h 491"/>
                <a:gd name="T92" fmla="*/ 250 w 419"/>
                <a:gd name="T93" fmla="*/ 476 h 491"/>
                <a:gd name="T94" fmla="*/ 89 w 419"/>
                <a:gd name="T95" fmla="*/ 307 h 491"/>
                <a:gd name="T96" fmla="*/ 9 w 419"/>
                <a:gd name="T97" fmla="*/ 167 h 491"/>
                <a:gd name="T98" fmla="*/ 193 w 419"/>
                <a:gd name="T99" fmla="*/ 9 h 491"/>
                <a:gd name="T100" fmla="*/ 365 w 419"/>
                <a:gd name="T101" fmla="*/ 120 h 491"/>
                <a:gd name="T102" fmla="*/ 365 w 419"/>
                <a:gd name="T103" fmla="*/ 180 h 491"/>
                <a:gd name="T104" fmla="*/ 399 w 419"/>
                <a:gd name="T105" fmla="*/ 255 h 491"/>
                <a:gd name="T106" fmla="*/ 405 w 419"/>
                <a:gd name="T107" fmla="*/ 281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19" h="491">
                  <a:moveTo>
                    <a:pt x="194" y="69"/>
                  </a:moveTo>
                  <a:cubicBezTo>
                    <a:pt x="155" y="69"/>
                    <a:pt x="122" y="101"/>
                    <a:pt x="122" y="141"/>
                  </a:cubicBezTo>
                  <a:cubicBezTo>
                    <a:pt x="122" y="161"/>
                    <a:pt x="130" y="180"/>
                    <a:pt x="144" y="195"/>
                  </a:cubicBezTo>
                  <a:cubicBezTo>
                    <a:pt x="148" y="199"/>
                    <a:pt x="156" y="210"/>
                    <a:pt x="156" y="239"/>
                  </a:cubicBezTo>
                  <a:cubicBezTo>
                    <a:pt x="156" y="263"/>
                    <a:pt x="156" y="263"/>
                    <a:pt x="156" y="263"/>
                  </a:cubicBezTo>
                  <a:cubicBezTo>
                    <a:pt x="156" y="270"/>
                    <a:pt x="162" y="276"/>
                    <a:pt x="169" y="276"/>
                  </a:cubicBezTo>
                  <a:cubicBezTo>
                    <a:pt x="172" y="276"/>
                    <a:pt x="172" y="276"/>
                    <a:pt x="172" y="276"/>
                  </a:cubicBezTo>
                  <a:cubicBezTo>
                    <a:pt x="174" y="285"/>
                    <a:pt x="183" y="293"/>
                    <a:pt x="194" y="293"/>
                  </a:cubicBezTo>
                  <a:cubicBezTo>
                    <a:pt x="205" y="293"/>
                    <a:pt x="214" y="285"/>
                    <a:pt x="217" y="276"/>
                  </a:cubicBezTo>
                  <a:cubicBezTo>
                    <a:pt x="220" y="276"/>
                    <a:pt x="220" y="276"/>
                    <a:pt x="220" y="276"/>
                  </a:cubicBezTo>
                  <a:cubicBezTo>
                    <a:pt x="227" y="276"/>
                    <a:pt x="233" y="270"/>
                    <a:pt x="233" y="263"/>
                  </a:cubicBezTo>
                  <a:cubicBezTo>
                    <a:pt x="233" y="239"/>
                    <a:pt x="233" y="239"/>
                    <a:pt x="233" y="239"/>
                  </a:cubicBezTo>
                  <a:cubicBezTo>
                    <a:pt x="233" y="210"/>
                    <a:pt x="241" y="199"/>
                    <a:pt x="244" y="195"/>
                  </a:cubicBezTo>
                  <a:cubicBezTo>
                    <a:pt x="258" y="180"/>
                    <a:pt x="266" y="161"/>
                    <a:pt x="266" y="141"/>
                  </a:cubicBezTo>
                  <a:cubicBezTo>
                    <a:pt x="266" y="101"/>
                    <a:pt x="234" y="69"/>
                    <a:pt x="194" y="69"/>
                  </a:cubicBezTo>
                  <a:close/>
                  <a:moveTo>
                    <a:pt x="194" y="283"/>
                  </a:moveTo>
                  <a:cubicBezTo>
                    <a:pt x="189" y="283"/>
                    <a:pt x="184" y="280"/>
                    <a:pt x="182" y="276"/>
                  </a:cubicBezTo>
                  <a:cubicBezTo>
                    <a:pt x="207" y="276"/>
                    <a:pt x="207" y="276"/>
                    <a:pt x="207" y="276"/>
                  </a:cubicBezTo>
                  <a:cubicBezTo>
                    <a:pt x="205" y="280"/>
                    <a:pt x="200" y="283"/>
                    <a:pt x="194" y="283"/>
                  </a:cubicBezTo>
                  <a:close/>
                  <a:moveTo>
                    <a:pt x="223" y="263"/>
                  </a:moveTo>
                  <a:cubicBezTo>
                    <a:pt x="223" y="265"/>
                    <a:pt x="222" y="266"/>
                    <a:pt x="220" y="266"/>
                  </a:cubicBezTo>
                  <a:cubicBezTo>
                    <a:pt x="169" y="266"/>
                    <a:pt x="169" y="266"/>
                    <a:pt x="169" y="266"/>
                  </a:cubicBezTo>
                  <a:cubicBezTo>
                    <a:pt x="167" y="266"/>
                    <a:pt x="165" y="265"/>
                    <a:pt x="165" y="263"/>
                  </a:cubicBezTo>
                  <a:cubicBezTo>
                    <a:pt x="165" y="244"/>
                    <a:pt x="165" y="244"/>
                    <a:pt x="165" y="244"/>
                  </a:cubicBezTo>
                  <a:cubicBezTo>
                    <a:pt x="223" y="244"/>
                    <a:pt x="223" y="244"/>
                    <a:pt x="223" y="244"/>
                  </a:cubicBezTo>
                  <a:lnTo>
                    <a:pt x="223" y="263"/>
                  </a:lnTo>
                  <a:close/>
                  <a:moveTo>
                    <a:pt x="237" y="188"/>
                  </a:moveTo>
                  <a:cubicBezTo>
                    <a:pt x="232" y="194"/>
                    <a:pt x="224" y="207"/>
                    <a:pt x="223" y="235"/>
                  </a:cubicBezTo>
                  <a:cubicBezTo>
                    <a:pt x="199" y="235"/>
                    <a:pt x="199" y="235"/>
                    <a:pt x="199" y="235"/>
                  </a:cubicBezTo>
                  <a:cubicBezTo>
                    <a:pt x="199" y="168"/>
                    <a:pt x="199" y="168"/>
                    <a:pt x="199" y="168"/>
                  </a:cubicBezTo>
                  <a:cubicBezTo>
                    <a:pt x="218" y="165"/>
                    <a:pt x="224" y="141"/>
                    <a:pt x="224" y="140"/>
                  </a:cubicBezTo>
                  <a:cubicBezTo>
                    <a:pt x="225" y="137"/>
                    <a:pt x="223" y="135"/>
                    <a:pt x="221" y="134"/>
                  </a:cubicBezTo>
                  <a:cubicBezTo>
                    <a:pt x="218" y="133"/>
                    <a:pt x="216" y="135"/>
                    <a:pt x="215" y="137"/>
                  </a:cubicBezTo>
                  <a:cubicBezTo>
                    <a:pt x="215" y="138"/>
                    <a:pt x="210" y="159"/>
                    <a:pt x="194" y="159"/>
                  </a:cubicBezTo>
                  <a:cubicBezTo>
                    <a:pt x="179" y="159"/>
                    <a:pt x="173" y="138"/>
                    <a:pt x="173" y="137"/>
                  </a:cubicBezTo>
                  <a:cubicBezTo>
                    <a:pt x="173" y="135"/>
                    <a:pt x="170" y="133"/>
                    <a:pt x="168" y="134"/>
                  </a:cubicBezTo>
                  <a:cubicBezTo>
                    <a:pt x="165" y="135"/>
                    <a:pt x="164" y="137"/>
                    <a:pt x="164" y="140"/>
                  </a:cubicBezTo>
                  <a:cubicBezTo>
                    <a:pt x="165" y="141"/>
                    <a:pt x="170" y="165"/>
                    <a:pt x="190" y="168"/>
                  </a:cubicBezTo>
                  <a:cubicBezTo>
                    <a:pt x="190" y="235"/>
                    <a:pt x="190" y="235"/>
                    <a:pt x="190" y="235"/>
                  </a:cubicBezTo>
                  <a:cubicBezTo>
                    <a:pt x="165" y="235"/>
                    <a:pt x="165" y="235"/>
                    <a:pt x="165" y="235"/>
                  </a:cubicBezTo>
                  <a:cubicBezTo>
                    <a:pt x="164" y="207"/>
                    <a:pt x="156" y="194"/>
                    <a:pt x="151" y="188"/>
                  </a:cubicBezTo>
                  <a:cubicBezTo>
                    <a:pt x="139" y="176"/>
                    <a:pt x="132" y="158"/>
                    <a:pt x="132" y="141"/>
                  </a:cubicBezTo>
                  <a:cubicBezTo>
                    <a:pt x="132" y="107"/>
                    <a:pt x="160" y="79"/>
                    <a:pt x="194" y="79"/>
                  </a:cubicBezTo>
                  <a:cubicBezTo>
                    <a:pt x="229" y="79"/>
                    <a:pt x="257" y="107"/>
                    <a:pt x="257" y="141"/>
                  </a:cubicBezTo>
                  <a:cubicBezTo>
                    <a:pt x="257" y="158"/>
                    <a:pt x="250" y="176"/>
                    <a:pt x="237" y="188"/>
                  </a:cubicBezTo>
                  <a:close/>
                  <a:moveTo>
                    <a:pt x="407" y="250"/>
                  </a:moveTo>
                  <a:cubicBezTo>
                    <a:pt x="395" y="232"/>
                    <a:pt x="374" y="197"/>
                    <a:pt x="372" y="188"/>
                  </a:cubicBezTo>
                  <a:cubicBezTo>
                    <a:pt x="373" y="187"/>
                    <a:pt x="373" y="185"/>
                    <a:pt x="374" y="183"/>
                  </a:cubicBezTo>
                  <a:cubicBezTo>
                    <a:pt x="376" y="176"/>
                    <a:pt x="379" y="166"/>
                    <a:pt x="379" y="158"/>
                  </a:cubicBezTo>
                  <a:cubicBezTo>
                    <a:pt x="379" y="146"/>
                    <a:pt x="377" y="129"/>
                    <a:pt x="374" y="118"/>
                  </a:cubicBezTo>
                  <a:cubicBezTo>
                    <a:pt x="373" y="112"/>
                    <a:pt x="364" y="83"/>
                    <a:pt x="338" y="55"/>
                  </a:cubicBezTo>
                  <a:cubicBezTo>
                    <a:pt x="303" y="18"/>
                    <a:pt x="255" y="0"/>
                    <a:pt x="193" y="0"/>
                  </a:cubicBezTo>
                  <a:cubicBezTo>
                    <a:pt x="65" y="0"/>
                    <a:pt x="0" y="56"/>
                    <a:pt x="0" y="167"/>
                  </a:cubicBezTo>
                  <a:cubicBezTo>
                    <a:pt x="0" y="231"/>
                    <a:pt x="37" y="266"/>
                    <a:pt x="61" y="288"/>
                  </a:cubicBezTo>
                  <a:cubicBezTo>
                    <a:pt x="70" y="297"/>
                    <a:pt x="78" y="304"/>
                    <a:pt x="80" y="310"/>
                  </a:cubicBezTo>
                  <a:cubicBezTo>
                    <a:pt x="97" y="376"/>
                    <a:pt x="82" y="429"/>
                    <a:pt x="72" y="454"/>
                  </a:cubicBezTo>
                  <a:cubicBezTo>
                    <a:pt x="71" y="456"/>
                    <a:pt x="72" y="459"/>
                    <a:pt x="74" y="460"/>
                  </a:cubicBezTo>
                  <a:cubicBezTo>
                    <a:pt x="112" y="480"/>
                    <a:pt x="154" y="491"/>
                    <a:pt x="197" y="491"/>
                  </a:cubicBezTo>
                  <a:cubicBezTo>
                    <a:pt x="217" y="491"/>
                    <a:pt x="236" y="489"/>
                    <a:pt x="256" y="484"/>
                  </a:cubicBezTo>
                  <a:cubicBezTo>
                    <a:pt x="258" y="484"/>
                    <a:pt x="259" y="482"/>
                    <a:pt x="259" y="480"/>
                  </a:cubicBezTo>
                  <a:cubicBezTo>
                    <a:pt x="259" y="438"/>
                    <a:pt x="260" y="406"/>
                    <a:pt x="262" y="396"/>
                  </a:cubicBezTo>
                  <a:cubicBezTo>
                    <a:pt x="280" y="401"/>
                    <a:pt x="335" y="413"/>
                    <a:pt x="345" y="413"/>
                  </a:cubicBezTo>
                  <a:cubicBezTo>
                    <a:pt x="346" y="413"/>
                    <a:pt x="347" y="413"/>
                    <a:pt x="347" y="413"/>
                  </a:cubicBezTo>
                  <a:cubicBezTo>
                    <a:pt x="355" y="413"/>
                    <a:pt x="374" y="413"/>
                    <a:pt x="378" y="391"/>
                  </a:cubicBezTo>
                  <a:cubicBezTo>
                    <a:pt x="381" y="380"/>
                    <a:pt x="380" y="370"/>
                    <a:pt x="379" y="364"/>
                  </a:cubicBezTo>
                  <a:cubicBezTo>
                    <a:pt x="379" y="362"/>
                    <a:pt x="378" y="360"/>
                    <a:pt x="378" y="360"/>
                  </a:cubicBezTo>
                  <a:cubicBezTo>
                    <a:pt x="379" y="356"/>
                    <a:pt x="382" y="352"/>
                    <a:pt x="384" y="348"/>
                  </a:cubicBezTo>
                  <a:cubicBezTo>
                    <a:pt x="386" y="344"/>
                    <a:pt x="387" y="342"/>
                    <a:pt x="388" y="339"/>
                  </a:cubicBezTo>
                  <a:cubicBezTo>
                    <a:pt x="388" y="337"/>
                    <a:pt x="387" y="333"/>
                    <a:pt x="386" y="330"/>
                  </a:cubicBezTo>
                  <a:cubicBezTo>
                    <a:pt x="389" y="327"/>
                    <a:pt x="393" y="323"/>
                    <a:pt x="394" y="319"/>
                  </a:cubicBezTo>
                  <a:cubicBezTo>
                    <a:pt x="394" y="315"/>
                    <a:pt x="392" y="310"/>
                    <a:pt x="390" y="305"/>
                  </a:cubicBezTo>
                  <a:cubicBezTo>
                    <a:pt x="390" y="305"/>
                    <a:pt x="390" y="305"/>
                    <a:pt x="390" y="304"/>
                  </a:cubicBezTo>
                  <a:cubicBezTo>
                    <a:pt x="390" y="303"/>
                    <a:pt x="390" y="299"/>
                    <a:pt x="390" y="294"/>
                  </a:cubicBezTo>
                  <a:cubicBezTo>
                    <a:pt x="396" y="293"/>
                    <a:pt x="406" y="291"/>
                    <a:pt x="409" y="289"/>
                  </a:cubicBezTo>
                  <a:cubicBezTo>
                    <a:pt x="415" y="286"/>
                    <a:pt x="419" y="277"/>
                    <a:pt x="419" y="272"/>
                  </a:cubicBezTo>
                  <a:cubicBezTo>
                    <a:pt x="419" y="270"/>
                    <a:pt x="418" y="270"/>
                    <a:pt x="407" y="250"/>
                  </a:cubicBezTo>
                  <a:close/>
                  <a:moveTo>
                    <a:pt x="405" y="281"/>
                  </a:moveTo>
                  <a:cubicBezTo>
                    <a:pt x="403" y="282"/>
                    <a:pt x="393" y="284"/>
                    <a:pt x="385" y="286"/>
                  </a:cubicBezTo>
                  <a:cubicBezTo>
                    <a:pt x="383" y="286"/>
                    <a:pt x="381" y="288"/>
                    <a:pt x="381" y="290"/>
                  </a:cubicBezTo>
                  <a:cubicBezTo>
                    <a:pt x="380" y="305"/>
                    <a:pt x="380" y="306"/>
                    <a:pt x="380" y="307"/>
                  </a:cubicBezTo>
                  <a:cubicBezTo>
                    <a:pt x="381" y="308"/>
                    <a:pt x="381" y="308"/>
                    <a:pt x="382" y="310"/>
                  </a:cubicBezTo>
                  <a:cubicBezTo>
                    <a:pt x="384" y="314"/>
                    <a:pt x="385" y="316"/>
                    <a:pt x="385" y="317"/>
                  </a:cubicBezTo>
                  <a:cubicBezTo>
                    <a:pt x="384" y="319"/>
                    <a:pt x="381" y="322"/>
                    <a:pt x="377" y="325"/>
                  </a:cubicBezTo>
                  <a:cubicBezTo>
                    <a:pt x="376" y="326"/>
                    <a:pt x="375" y="329"/>
                    <a:pt x="376" y="331"/>
                  </a:cubicBezTo>
                  <a:cubicBezTo>
                    <a:pt x="377" y="334"/>
                    <a:pt x="378" y="337"/>
                    <a:pt x="378" y="338"/>
                  </a:cubicBezTo>
                  <a:cubicBezTo>
                    <a:pt x="378" y="339"/>
                    <a:pt x="377" y="342"/>
                    <a:pt x="375" y="344"/>
                  </a:cubicBezTo>
                  <a:cubicBezTo>
                    <a:pt x="373" y="348"/>
                    <a:pt x="371" y="353"/>
                    <a:pt x="369" y="357"/>
                  </a:cubicBezTo>
                  <a:cubicBezTo>
                    <a:pt x="369" y="359"/>
                    <a:pt x="369" y="362"/>
                    <a:pt x="369" y="365"/>
                  </a:cubicBezTo>
                  <a:cubicBezTo>
                    <a:pt x="370" y="371"/>
                    <a:pt x="371" y="379"/>
                    <a:pt x="369" y="389"/>
                  </a:cubicBezTo>
                  <a:cubicBezTo>
                    <a:pt x="367" y="401"/>
                    <a:pt x="359" y="404"/>
                    <a:pt x="347" y="404"/>
                  </a:cubicBezTo>
                  <a:cubicBezTo>
                    <a:pt x="347" y="404"/>
                    <a:pt x="346" y="404"/>
                    <a:pt x="345" y="404"/>
                  </a:cubicBezTo>
                  <a:cubicBezTo>
                    <a:pt x="335" y="403"/>
                    <a:pt x="271" y="389"/>
                    <a:pt x="261" y="386"/>
                  </a:cubicBezTo>
                  <a:cubicBezTo>
                    <a:pt x="259" y="386"/>
                    <a:pt x="257" y="386"/>
                    <a:pt x="256" y="387"/>
                  </a:cubicBezTo>
                  <a:cubicBezTo>
                    <a:pt x="250" y="394"/>
                    <a:pt x="249" y="449"/>
                    <a:pt x="250" y="476"/>
                  </a:cubicBezTo>
                  <a:cubicBezTo>
                    <a:pt x="193" y="488"/>
                    <a:pt x="133" y="480"/>
                    <a:pt x="83" y="454"/>
                  </a:cubicBezTo>
                  <a:cubicBezTo>
                    <a:pt x="93" y="426"/>
                    <a:pt x="105" y="373"/>
                    <a:pt x="89" y="307"/>
                  </a:cubicBezTo>
                  <a:cubicBezTo>
                    <a:pt x="87" y="299"/>
                    <a:pt x="79" y="292"/>
                    <a:pt x="68" y="282"/>
                  </a:cubicBezTo>
                  <a:cubicBezTo>
                    <a:pt x="44" y="260"/>
                    <a:pt x="9" y="227"/>
                    <a:pt x="9" y="167"/>
                  </a:cubicBezTo>
                  <a:cubicBezTo>
                    <a:pt x="9" y="119"/>
                    <a:pt x="22" y="82"/>
                    <a:pt x="47" y="56"/>
                  </a:cubicBezTo>
                  <a:cubicBezTo>
                    <a:pt x="78" y="25"/>
                    <a:pt x="127" y="9"/>
                    <a:pt x="193" y="9"/>
                  </a:cubicBezTo>
                  <a:cubicBezTo>
                    <a:pt x="252" y="9"/>
                    <a:pt x="298" y="27"/>
                    <a:pt x="331" y="61"/>
                  </a:cubicBezTo>
                  <a:cubicBezTo>
                    <a:pt x="357" y="88"/>
                    <a:pt x="364" y="117"/>
                    <a:pt x="365" y="120"/>
                  </a:cubicBezTo>
                  <a:cubicBezTo>
                    <a:pt x="367" y="130"/>
                    <a:pt x="370" y="147"/>
                    <a:pt x="370" y="158"/>
                  </a:cubicBezTo>
                  <a:cubicBezTo>
                    <a:pt x="370" y="165"/>
                    <a:pt x="367" y="174"/>
                    <a:pt x="365" y="180"/>
                  </a:cubicBezTo>
                  <a:cubicBezTo>
                    <a:pt x="363" y="185"/>
                    <a:pt x="363" y="187"/>
                    <a:pt x="363" y="189"/>
                  </a:cubicBezTo>
                  <a:cubicBezTo>
                    <a:pt x="364" y="198"/>
                    <a:pt x="380" y="224"/>
                    <a:pt x="399" y="255"/>
                  </a:cubicBezTo>
                  <a:cubicBezTo>
                    <a:pt x="403" y="263"/>
                    <a:pt x="408" y="271"/>
                    <a:pt x="409" y="273"/>
                  </a:cubicBezTo>
                  <a:cubicBezTo>
                    <a:pt x="409" y="275"/>
                    <a:pt x="406" y="280"/>
                    <a:pt x="405" y="28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117" name="Textfeld 116"/>
          <p:cNvSpPr txBox="1"/>
          <p:nvPr/>
        </p:nvSpPr>
        <p:spPr>
          <a:xfrm>
            <a:off x="4595137" y="4408937"/>
            <a:ext cx="3025348" cy="477567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4000"/>
              </a:lnSpc>
              <a:spcBef>
                <a:spcPts val="600"/>
              </a:spcBef>
            </a:pPr>
            <a:r>
              <a:rPr lang="de-DE" sz="3200" dirty="0" smtClean="0">
                <a:solidFill>
                  <a:schemeClr val="accent3"/>
                </a:solidFill>
              </a:rPr>
              <a:t>IT als Werkzeug</a:t>
            </a:r>
          </a:p>
        </p:txBody>
      </p:sp>
      <p:cxnSp>
        <p:nvCxnSpPr>
          <p:cNvPr id="121" name="Gerade Verbindung 120"/>
          <p:cNvCxnSpPr>
            <a:endCxn id="39" idx="26"/>
          </p:cNvCxnSpPr>
          <p:nvPr/>
        </p:nvCxnSpPr>
        <p:spPr>
          <a:xfrm flipV="1">
            <a:off x="2843021" y="3215722"/>
            <a:ext cx="3293777" cy="2289088"/>
          </a:xfrm>
          <a:prstGeom prst="line">
            <a:avLst/>
          </a:prstGeom>
          <a:ln w="952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</p:cxnSp>
      <p:grpSp>
        <p:nvGrpSpPr>
          <p:cNvPr id="56" name="Gruppieren 55"/>
          <p:cNvGrpSpPr/>
          <p:nvPr/>
        </p:nvGrpSpPr>
        <p:grpSpPr>
          <a:xfrm>
            <a:off x="4421556" y="5360264"/>
            <a:ext cx="822960" cy="822960"/>
            <a:chOff x="1567119" y="4839340"/>
            <a:chExt cx="822960" cy="822960"/>
          </a:xfrm>
        </p:grpSpPr>
        <p:sp>
          <p:nvSpPr>
            <p:cNvPr id="14" name="Oval 17"/>
            <p:cNvSpPr>
              <a:spLocks noChangeArrowheads="1"/>
            </p:cNvSpPr>
            <p:nvPr/>
          </p:nvSpPr>
          <p:spPr bwMode="auto">
            <a:xfrm>
              <a:off x="1567119" y="4839340"/>
              <a:ext cx="822960" cy="822960"/>
            </a:xfrm>
            <a:prstGeom prst="ellipse">
              <a:avLst/>
            </a:prstGeom>
            <a:solidFill>
              <a:schemeClr val="accent3"/>
            </a:solidFill>
            <a:ln>
              <a:solidFill>
                <a:schemeClr val="bg1"/>
              </a:solidFill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" name="Freeform 40"/>
            <p:cNvSpPr>
              <a:spLocks noEditPoints="1"/>
            </p:cNvSpPr>
            <p:nvPr/>
          </p:nvSpPr>
          <p:spPr bwMode="auto">
            <a:xfrm>
              <a:off x="1815228" y="5037750"/>
              <a:ext cx="326742" cy="425652"/>
            </a:xfrm>
            <a:custGeom>
              <a:avLst/>
              <a:gdLst>
                <a:gd name="T0" fmla="*/ 283 w 283"/>
                <a:gd name="T1" fmla="*/ 46 h 369"/>
                <a:gd name="T2" fmla="*/ 0 w 283"/>
                <a:gd name="T3" fmla="*/ 46 h 369"/>
                <a:gd name="T4" fmla="*/ 10 w 283"/>
                <a:gd name="T5" fmla="*/ 133 h 369"/>
                <a:gd name="T6" fmla="*/ 0 w 283"/>
                <a:gd name="T7" fmla="*/ 219 h 369"/>
                <a:gd name="T8" fmla="*/ 0 w 283"/>
                <a:gd name="T9" fmla="*/ 253 h 369"/>
                <a:gd name="T10" fmla="*/ 142 w 283"/>
                <a:gd name="T11" fmla="*/ 369 h 369"/>
                <a:gd name="T12" fmla="*/ 283 w 283"/>
                <a:gd name="T13" fmla="*/ 253 h 369"/>
                <a:gd name="T14" fmla="*/ 283 w 283"/>
                <a:gd name="T15" fmla="*/ 219 h 369"/>
                <a:gd name="T16" fmla="*/ 274 w 283"/>
                <a:gd name="T17" fmla="*/ 133 h 369"/>
                <a:gd name="T18" fmla="*/ 274 w 283"/>
                <a:gd name="T19" fmla="*/ 323 h 369"/>
                <a:gd name="T20" fmla="*/ 10 w 283"/>
                <a:gd name="T21" fmla="*/ 323 h 369"/>
                <a:gd name="T22" fmla="*/ 142 w 283"/>
                <a:gd name="T23" fmla="*/ 299 h 369"/>
                <a:gd name="T24" fmla="*/ 274 w 283"/>
                <a:gd name="T25" fmla="*/ 323 h 369"/>
                <a:gd name="T26" fmla="*/ 10 w 283"/>
                <a:gd name="T27" fmla="*/ 253 h 369"/>
                <a:gd name="T28" fmla="*/ 142 w 283"/>
                <a:gd name="T29" fmla="*/ 265 h 369"/>
                <a:gd name="T30" fmla="*/ 274 w 283"/>
                <a:gd name="T31" fmla="*/ 253 h 369"/>
                <a:gd name="T32" fmla="*/ 274 w 283"/>
                <a:gd name="T33" fmla="*/ 219 h 369"/>
                <a:gd name="T34" fmla="*/ 263 w 283"/>
                <a:gd name="T35" fmla="*/ 233 h 369"/>
                <a:gd name="T36" fmla="*/ 20 w 283"/>
                <a:gd name="T37" fmla="*/ 233 h 369"/>
                <a:gd name="T38" fmla="*/ 10 w 283"/>
                <a:gd name="T39" fmla="*/ 219 h 369"/>
                <a:gd name="T40" fmla="*/ 142 w 283"/>
                <a:gd name="T41" fmla="*/ 195 h 369"/>
                <a:gd name="T42" fmla="*/ 274 w 283"/>
                <a:gd name="T43" fmla="*/ 219 h 369"/>
                <a:gd name="T44" fmla="*/ 10 w 283"/>
                <a:gd name="T45" fmla="*/ 150 h 369"/>
                <a:gd name="T46" fmla="*/ 142 w 283"/>
                <a:gd name="T47" fmla="*/ 161 h 369"/>
                <a:gd name="T48" fmla="*/ 274 w 283"/>
                <a:gd name="T49" fmla="*/ 150 h 369"/>
                <a:gd name="T50" fmla="*/ 274 w 283"/>
                <a:gd name="T51" fmla="*/ 115 h 369"/>
                <a:gd name="T52" fmla="*/ 263 w 283"/>
                <a:gd name="T53" fmla="*/ 129 h 369"/>
                <a:gd name="T54" fmla="*/ 21 w 283"/>
                <a:gd name="T55" fmla="*/ 129 h 369"/>
                <a:gd name="T56" fmla="*/ 10 w 283"/>
                <a:gd name="T57" fmla="*/ 115 h 369"/>
                <a:gd name="T58" fmla="*/ 142 w 283"/>
                <a:gd name="T59" fmla="*/ 92 h 369"/>
                <a:gd name="T60" fmla="*/ 274 w 283"/>
                <a:gd name="T61" fmla="*/ 115 h 369"/>
                <a:gd name="T62" fmla="*/ 10 w 283"/>
                <a:gd name="T63" fmla="*/ 46 h 369"/>
                <a:gd name="T64" fmla="*/ 274 w 283"/>
                <a:gd name="T65" fmla="*/ 46 h 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3" h="369">
                  <a:moveTo>
                    <a:pt x="283" y="115"/>
                  </a:moveTo>
                  <a:cubicBezTo>
                    <a:pt x="283" y="46"/>
                    <a:pt x="283" y="46"/>
                    <a:pt x="283" y="46"/>
                  </a:cubicBezTo>
                  <a:cubicBezTo>
                    <a:pt x="283" y="16"/>
                    <a:pt x="210" y="0"/>
                    <a:pt x="142" y="0"/>
                  </a:cubicBezTo>
                  <a:cubicBezTo>
                    <a:pt x="73" y="0"/>
                    <a:pt x="0" y="16"/>
                    <a:pt x="0" y="46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22"/>
                    <a:pt x="4" y="128"/>
                    <a:pt x="10" y="133"/>
                  </a:cubicBezTo>
                  <a:cubicBezTo>
                    <a:pt x="3" y="138"/>
                    <a:pt x="0" y="144"/>
                    <a:pt x="0" y="150"/>
                  </a:cubicBezTo>
                  <a:cubicBezTo>
                    <a:pt x="0" y="219"/>
                    <a:pt x="0" y="219"/>
                    <a:pt x="0" y="219"/>
                  </a:cubicBezTo>
                  <a:cubicBezTo>
                    <a:pt x="0" y="226"/>
                    <a:pt x="4" y="231"/>
                    <a:pt x="10" y="236"/>
                  </a:cubicBezTo>
                  <a:cubicBezTo>
                    <a:pt x="3" y="242"/>
                    <a:pt x="0" y="247"/>
                    <a:pt x="0" y="253"/>
                  </a:cubicBezTo>
                  <a:cubicBezTo>
                    <a:pt x="0" y="323"/>
                    <a:pt x="0" y="323"/>
                    <a:pt x="0" y="323"/>
                  </a:cubicBezTo>
                  <a:cubicBezTo>
                    <a:pt x="0" y="353"/>
                    <a:pt x="73" y="369"/>
                    <a:pt x="142" y="369"/>
                  </a:cubicBezTo>
                  <a:cubicBezTo>
                    <a:pt x="210" y="369"/>
                    <a:pt x="283" y="353"/>
                    <a:pt x="283" y="323"/>
                  </a:cubicBezTo>
                  <a:cubicBezTo>
                    <a:pt x="283" y="253"/>
                    <a:pt x="283" y="253"/>
                    <a:pt x="283" y="253"/>
                  </a:cubicBezTo>
                  <a:cubicBezTo>
                    <a:pt x="283" y="247"/>
                    <a:pt x="280" y="242"/>
                    <a:pt x="274" y="236"/>
                  </a:cubicBezTo>
                  <a:cubicBezTo>
                    <a:pt x="280" y="231"/>
                    <a:pt x="283" y="226"/>
                    <a:pt x="283" y="219"/>
                  </a:cubicBezTo>
                  <a:cubicBezTo>
                    <a:pt x="283" y="150"/>
                    <a:pt x="283" y="150"/>
                    <a:pt x="283" y="150"/>
                  </a:cubicBezTo>
                  <a:cubicBezTo>
                    <a:pt x="283" y="144"/>
                    <a:pt x="280" y="138"/>
                    <a:pt x="274" y="133"/>
                  </a:cubicBezTo>
                  <a:cubicBezTo>
                    <a:pt x="280" y="128"/>
                    <a:pt x="283" y="122"/>
                    <a:pt x="283" y="115"/>
                  </a:cubicBezTo>
                  <a:close/>
                  <a:moveTo>
                    <a:pt x="274" y="323"/>
                  </a:moveTo>
                  <a:cubicBezTo>
                    <a:pt x="274" y="340"/>
                    <a:pt x="220" y="359"/>
                    <a:pt x="142" y="359"/>
                  </a:cubicBezTo>
                  <a:cubicBezTo>
                    <a:pt x="64" y="359"/>
                    <a:pt x="10" y="340"/>
                    <a:pt x="10" y="323"/>
                  </a:cubicBezTo>
                  <a:cubicBezTo>
                    <a:pt x="10" y="271"/>
                    <a:pt x="10" y="271"/>
                    <a:pt x="10" y="271"/>
                  </a:cubicBezTo>
                  <a:cubicBezTo>
                    <a:pt x="31" y="289"/>
                    <a:pt x="88" y="299"/>
                    <a:pt x="142" y="299"/>
                  </a:cubicBezTo>
                  <a:cubicBezTo>
                    <a:pt x="196" y="299"/>
                    <a:pt x="252" y="289"/>
                    <a:pt x="274" y="271"/>
                  </a:cubicBezTo>
                  <a:lnTo>
                    <a:pt x="274" y="323"/>
                  </a:lnTo>
                  <a:close/>
                  <a:moveTo>
                    <a:pt x="142" y="290"/>
                  </a:moveTo>
                  <a:cubicBezTo>
                    <a:pt x="64" y="290"/>
                    <a:pt x="10" y="271"/>
                    <a:pt x="10" y="253"/>
                  </a:cubicBezTo>
                  <a:cubicBezTo>
                    <a:pt x="10" y="249"/>
                    <a:pt x="14" y="245"/>
                    <a:pt x="18" y="242"/>
                  </a:cubicBezTo>
                  <a:cubicBezTo>
                    <a:pt x="43" y="257"/>
                    <a:pt x="94" y="265"/>
                    <a:pt x="142" y="265"/>
                  </a:cubicBezTo>
                  <a:cubicBezTo>
                    <a:pt x="190" y="265"/>
                    <a:pt x="240" y="257"/>
                    <a:pt x="266" y="242"/>
                  </a:cubicBezTo>
                  <a:cubicBezTo>
                    <a:pt x="270" y="245"/>
                    <a:pt x="274" y="249"/>
                    <a:pt x="274" y="253"/>
                  </a:cubicBezTo>
                  <a:cubicBezTo>
                    <a:pt x="274" y="271"/>
                    <a:pt x="220" y="290"/>
                    <a:pt x="142" y="290"/>
                  </a:cubicBezTo>
                  <a:close/>
                  <a:moveTo>
                    <a:pt x="274" y="219"/>
                  </a:moveTo>
                  <a:cubicBezTo>
                    <a:pt x="274" y="223"/>
                    <a:pt x="271" y="228"/>
                    <a:pt x="264" y="232"/>
                  </a:cubicBezTo>
                  <a:cubicBezTo>
                    <a:pt x="264" y="232"/>
                    <a:pt x="264" y="232"/>
                    <a:pt x="263" y="233"/>
                  </a:cubicBezTo>
                  <a:cubicBezTo>
                    <a:pt x="244" y="245"/>
                    <a:pt x="199" y="255"/>
                    <a:pt x="142" y="255"/>
                  </a:cubicBezTo>
                  <a:cubicBezTo>
                    <a:pt x="84" y="255"/>
                    <a:pt x="40" y="245"/>
                    <a:pt x="20" y="233"/>
                  </a:cubicBezTo>
                  <a:cubicBezTo>
                    <a:pt x="20" y="232"/>
                    <a:pt x="20" y="232"/>
                    <a:pt x="19" y="232"/>
                  </a:cubicBezTo>
                  <a:cubicBezTo>
                    <a:pt x="13" y="228"/>
                    <a:pt x="10" y="223"/>
                    <a:pt x="10" y="219"/>
                  </a:cubicBezTo>
                  <a:cubicBezTo>
                    <a:pt x="10" y="167"/>
                    <a:pt x="10" y="167"/>
                    <a:pt x="10" y="167"/>
                  </a:cubicBezTo>
                  <a:cubicBezTo>
                    <a:pt x="31" y="186"/>
                    <a:pt x="88" y="195"/>
                    <a:pt x="142" y="195"/>
                  </a:cubicBezTo>
                  <a:cubicBezTo>
                    <a:pt x="196" y="195"/>
                    <a:pt x="252" y="186"/>
                    <a:pt x="274" y="167"/>
                  </a:cubicBezTo>
                  <a:lnTo>
                    <a:pt x="274" y="219"/>
                  </a:lnTo>
                  <a:close/>
                  <a:moveTo>
                    <a:pt x="142" y="186"/>
                  </a:moveTo>
                  <a:cubicBezTo>
                    <a:pt x="64" y="186"/>
                    <a:pt x="10" y="167"/>
                    <a:pt x="10" y="150"/>
                  </a:cubicBezTo>
                  <a:cubicBezTo>
                    <a:pt x="10" y="145"/>
                    <a:pt x="14" y="141"/>
                    <a:pt x="18" y="138"/>
                  </a:cubicBezTo>
                  <a:cubicBezTo>
                    <a:pt x="43" y="153"/>
                    <a:pt x="94" y="161"/>
                    <a:pt x="142" y="161"/>
                  </a:cubicBezTo>
                  <a:cubicBezTo>
                    <a:pt x="190" y="161"/>
                    <a:pt x="240" y="153"/>
                    <a:pt x="266" y="138"/>
                  </a:cubicBezTo>
                  <a:cubicBezTo>
                    <a:pt x="270" y="141"/>
                    <a:pt x="274" y="145"/>
                    <a:pt x="274" y="150"/>
                  </a:cubicBezTo>
                  <a:cubicBezTo>
                    <a:pt x="274" y="167"/>
                    <a:pt x="220" y="186"/>
                    <a:pt x="142" y="186"/>
                  </a:cubicBezTo>
                  <a:close/>
                  <a:moveTo>
                    <a:pt x="274" y="115"/>
                  </a:moveTo>
                  <a:cubicBezTo>
                    <a:pt x="274" y="120"/>
                    <a:pt x="271" y="124"/>
                    <a:pt x="264" y="128"/>
                  </a:cubicBezTo>
                  <a:cubicBezTo>
                    <a:pt x="264" y="128"/>
                    <a:pt x="263" y="129"/>
                    <a:pt x="263" y="129"/>
                  </a:cubicBezTo>
                  <a:cubicBezTo>
                    <a:pt x="243" y="142"/>
                    <a:pt x="199" y="152"/>
                    <a:pt x="142" y="152"/>
                  </a:cubicBezTo>
                  <a:cubicBezTo>
                    <a:pt x="85" y="152"/>
                    <a:pt x="40" y="142"/>
                    <a:pt x="21" y="129"/>
                  </a:cubicBezTo>
                  <a:cubicBezTo>
                    <a:pt x="20" y="129"/>
                    <a:pt x="20" y="128"/>
                    <a:pt x="19" y="128"/>
                  </a:cubicBezTo>
                  <a:cubicBezTo>
                    <a:pt x="13" y="124"/>
                    <a:pt x="10" y="120"/>
                    <a:pt x="10" y="115"/>
                  </a:cubicBezTo>
                  <a:cubicBezTo>
                    <a:pt x="10" y="63"/>
                    <a:pt x="10" y="63"/>
                    <a:pt x="10" y="63"/>
                  </a:cubicBezTo>
                  <a:cubicBezTo>
                    <a:pt x="31" y="82"/>
                    <a:pt x="88" y="92"/>
                    <a:pt x="142" y="92"/>
                  </a:cubicBezTo>
                  <a:cubicBezTo>
                    <a:pt x="196" y="92"/>
                    <a:pt x="252" y="82"/>
                    <a:pt x="274" y="63"/>
                  </a:cubicBezTo>
                  <a:lnTo>
                    <a:pt x="274" y="115"/>
                  </a:lnTo>
                  <a:close/>
                  <a:moveTo>
                    <a:pt x="142" y="82"/>
                  </a:moveTo>
                  <a:cubicBezTo>
                    <a:pt x="64" y="82"/>
                    <a:pt x="10" y="63"/>
                    <a:pt x="10" y="46"/>
                  </a:cubicBezTo>
                  <a:cubicBezTo>
                    <a:pt x="10" y="29"/>
                    <a:pt x="64" y="10"/>
                    <a:pt x="142" y="10"/>
                  </a:cubicBezTo>
                  <a:cubicBezTo>
                    <a:pt x="220" y="10"/>
                    <a:pt x="274" y="29"/>
                    <a:pt x="274" y="46"/>
                  </a:cubicBezTo>
                  <a:cubicBezTo>
                    <a:pt x="274" y="63"/>
                    <a:pt x="220" y="82"/>
                    <a:pt x="142" y="8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grpSp>
        <p:nvGrpSpPr>
          <p:cNvPr id="51" name="Gruppieren 50"/>
          <p:cNvGrpSpPr/>
          <p:nvPr/>
        </p:nvGrpSpPr>
        <p:grpSpPr>
          <a:xfrm>
            <a:off x="5232234" y="2313043"/>
            <a:ext cx="1727862" cy="1727862"/>
            <a:chOff x="7430588" y="4321997"/>
            <a:chExt cx="822960" cy="822960"/>
          </a:xfrm>
        </p:grpSpPr>
        <p:sp>
          <p:nvSpPr>
            <p:cNvPr id="38" name="Oval 76"/>
            <p:cNvSpPr>
              <a:spLocks noChangeArrowheads="1"/>
            </p:cNvSpPr>
            <p:nvPr/>
          </p:nvSpPr>
          <p:spPr bwMode="auto">
            <a:xfrm>
              <a:off x="7430588" y="4321997"/>
              <a:ext cx="822960" cy="822960"/>
            </a:xfrm>
            <a:prstGeom prst="ellipse">
              <a:avLst/>
            </a:prstGeom>
            <a:solidFill>
              <a:schemeClr val="accent3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endParaRPr>
            </a:p>
          </p:txBody>
        </p:sp>
        <p:sp>
          <p:nvSpPr>
            <p:cNvPr id="39" name="Freeform 152"/>
            <p:cNvSpPr>
              <a:spLocks noEditPoints="1"/>
            </p:cNvSpPr>
            <p:nvPr/>
          </p:nvSpPr>
          <p:spPr bwMode="auto">
            <a:xfrm>
              <a:off x="7640801" y="4526844"/>
              <a:ext cx="402535" cy="394484"/>
            </a:xfrm>
            <a:custGeom>
              <a:avLst/>
              <a:gdLst>
                <a:gd name="T0" fmla="*/ 396 w 520"/>
                <a:gd name="T1" fmla="*/ 294 h 510"/>
                <a:gd name="T2" fmla="*/ 385 w 520"/>
                <a:gd name="T3" fmla="*/ 283 h 510"/>
                <a:gd name="T4" fmla="*/ 370 w 520"/>
                <a:gd name="T5" fmla="*/ 297 h 510"/>
                <a:gd name="T6" fmla="*/ 342 w 520"/>
                <a:gd name="T7" fmla="*/ 326 h 510"/>
                <a:gd name="T8" fmla="*/ 414 w 520"/>
                <a:gd name="T9" fmla="*/ 161 h 510"/>
                <a:gd name="T10" fmla="*/ 491 w 520"/>
                <a:gd name="T11" fmla="*/ 140 h 510"/>
                <a:gd name="T12" fmla="*/ 506 w 520"/>
                <a:gd name="T13" fmla="*/ 52 h 510"/>
                <a:gd name="T14" fmla="*/ 465 w 520"/>
                <a:gd name="T15" fmla="*/ 88 h 510"/>
                <a:gd name="T16" fmla="*/ 428 w 520"/>
                <a:gd name="T17" fmla="*/ 50 h 510"/>
                <a:gd name="T18" fmla="*/ 463 w 520"/>
                <a:gd name="T19" fmla="*/ 9 h 510"/>
                <a:gd name="T20" fmla="*/ 433 w 520"/>
                <a:gd name="T21" fmla="*/ 0 h 510"/>
                <a:gd name="T22" fmla="*/ 354 w 520"/>
                <a:gd name="T23" fmla="*/ 101 h 510"/>
                <a:gd name="T24" fmla="*/ 123 w 520"/>
                <a:gd name="T25" fmla="*/ 107 h 510"/>
                <a:gd name="T26" fmla="*/ 133 w 520"/>
                <a:gd name="T27" fmla="*/ 85 h 510"/>
                <a:gd name="T28" fmla="*/ 45 w 520"/>
                <a:gd name="T29" fmla="*/ 8 h 510"/>
                <a:gd name="T30" fmla="*/ 11 w 520"/>
                <a:gd name="T31" fmla="*/ 45 h 510"/>
                <a:gd name="T32" fmla="*/ 90 w 520"/>
                <a:gd name="T33" fmla="*/ 128 h 510"/>
                <a:gd name="T34" fmla="*/ 102 w 520"/>
                <a:gd name="T35" fmla="*/ 128 h 510"/>
                <a:gd name="T36" fmla="*/ 224 w 520"/>
                <a:gd name="T37" fmla="*/ 230 h 510"/>
                <a:gd name="T38" fmla="*/ 87 w 520"/>
                <a:gd name="T39" fmla="*/ 346 h 510"/>
                <a:gd name="T40" fmla="*/ 9 w 520"/>
                <a:gd name="T41" fmla="*/ 452 h 510"/>
                <a:gd name="T42" fmla="*/ 22 w 520"/>
                <a:gd name="T43" fmla="*/ 455 h 510"/>
                <a:gd name="T44" fmla="*/ 85 w 520"/>
                <a:gd name="T45" fmla="*/ 430 h 510"/>
                <a:gd name="T46" fmla="*/ 60 w 520"/>
                <a:gd name="T47" fmla="*/ 493 h 510"/>
                <a:gd name="T48" fmla="*/ 63 w 520"/>
                <a:gd name="T49" fmla="*/ 506 h 510"/>
                <a:gd name="T50" fmla="*/ 145 w 520"/>
                <a:gd name="T51" fmla="*/ 486 h 510"/>
                <a:gd name="T52" fmla="*/ 285 w 520"/>
                <a:gd name="T53" fmla="*/ 291 h 510"/>
                <a:gd name="T54" fmla="*/ 288 w 520"/>
                <a:gd name="T55" fmla="*/ 380 h 510"/>
                <a:gd name="T56" fmla="*/ 293 w 520"/>
                <a:gd name="T57" fmla="*/ 394 h 510"/>
                <a:gd name="T58" fmla="*/ 308 w 520"/>
                <a:gd name="T59" fmla="*/ 382 h 510"/>
                <a:gd name="T60" fmla="*/ 452 w 520"/>
                <a:gd name="T61" fmla="*/ 502 h 510"/>
                <a:gd name="T62" fmla="*/ 508 w 520"/>
                <a:gd name="T63" fmla="*/ 447 h 510"/>
                <a:gd name="T64" fmla="*/ 387 w 520"/>
                <a:gd name="T65" fmla="*/ 303 h 510"/>
                <a:gd name="T66" fmla="*/ 30 w 520"/>
                <a:gd name="T67" fmla="*/ 45 h 510"/>
                <a:gd name="T68" fmla="*/ 116 w 520"/>
                <a:gd name="T69" fmla="*/ 91 h 510"/>
                <a:gd name="T70" fmla="*/ 150 w 520"/>
                <a:gd name="T71" fmla="*/ 409 h 510"/>
                <a:gd name="T72" fmla="*/ 87 w 520"/>
                <a:gd name="T73" fmla="*/ 494 h 510"/>
                <a:gd name="T74" fmla="*/ 107 w 520"/>
                <a:gd name="T75" fmla="*/ 468 h 510"/>
                <a:gd name="T76" fmla="*/ 99 w 520"/>
                <a:gd name="T77" fmla="*/ 421 h 510"/>
                <a:gd name="T78" fmla="*/ 54 w 520"/>
                <a:gd name="T79" fmla="*/ 406 h 510"/>
                <a:gd name="T80" fmla="*/ 21 w 520"/>
                <a:gd name="T81" fmla="*/ 433 h 510"/>
                <a:gd name="T82" fmla="*/ 87 w 520"/>
                <a:gd name="T83" fmla="*/ 362 h 510"/>
                <a:gd name="T84" fmla="*/ 114 w 520"/>
                <a:gd name="T85" fmla="*/ 363 h 510"/>
                <a:gd name="T86" fmla="*/ 370 w 520"/>
                <a:gd name="T87" fmla="*/ 101 h 510"/>
                <a:gd name="T88" fmla="*/ 433 w 520"/>
                <a:gd name="T89" fmla="*/ 16 h 510"/>
                <a:gd name="T90" fmla="*/ 413 w 520"/>
                <a:gd name="T91" fmla="*/ 42 h 510"/>
                <a:gd name="T92" fmla="*/ 421 w 520"/>
                <a:gd name="T93" fmla="*/ 88 h 510"/>
                <a:gd name="T94" fmla="*/ 466 w 520"/>
                <a:gd name="T95" fmla="*/ 104 h 510"/>
                <a:gd name="T96" fmla="*/ 499 w 520"/>
                <a:gd name="T97" fmla="*/ 76 h 510"/>
                <a:gd name="T98" fmla="*/ 433 w 520"/>
                <a:gd name="T99" fmla="*/ 147 h 510"/>
                <a:gd name="T100" fmla="*/ 406 w 520"/>
                <a:gd name="T101" fmla="*/ 147 h 510"/>
                <a:gd name="T102" fmla="*/ 150 w 520"/>
                <a:gd name="T103" fmla="*/ 409 h 510"/>
                <a:gd name="T104" fmla="*/ 424 w 520"/>
                <a:gd name="T105" fmla="*/ 475 h 510"/>
                <a:gd name="T106" fmla="*/ 376 w 520"/>
                <a:gd name="T107" fmla="*/ 314 h 510"/>
                <a:gd name="T108" fmla="*/ 492 w 520"/>
                <a:gd name="T109" fmla="*/ 44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20" h="510">
                  <a:moveTo>
                    <a:pt x="387" y="303"/>
                  </a:moveTo>
                  <a:cubicBezTo>
                    <a:pt x="396" y="294"/>
                    <a:pt x="396" y="294"/>
                    <a:pt x="396" y="294"/>
                  </a:cubicBezTo>
                  <a:cubicBezTo>
                    <a:pt x="399" y="291"/>
                    <a:pt x="399" y="286"/>
                    <a:pt x="396" y="283"/>
                  </a:cubicBezTo>
                  <a:cubicBezTo>
                    <a:pt x="393" y="279"/>
                    <a:pt x="388" y="279"/>
                    <a:pt x="385" y="283"/>
                  </a:cubicBezTo>
                  <a:cubicBezTo>
                    <a:pt x="370" y="297"/>
                    <a:pt x="370" y="297"/>
                    <a:pt x="370" y="297"/>
                  </a:cubicBezTo>
                  <a:cubicBezTo>
                    <a:pt x="370" y="297"/>
                    <a:pt x="370" y="297"/>
                    <a:pt x="370" y="297"/>
                  </a:cubicBezTo>
                  <a:cubicBezTo>
                    <a:pt x="370" y="297"/>
                    <a:pt x="370" y="297"/>
                    <a:pt x="370" y="297"/>
                  </a:cubicBezTo>
                  <a:cubicBezTo>
                    <a:pt x="342" y="326"/>
                    <a:pt x="342" y="326"/>
                    <a:pt x="342" y="326"/>
                  </a:cubicBezTo>
                  <a:cubicBezTo>
                    <a:pt x="296" y="280"/>
                    <a:pt x="296" y="280"/>
                    <a:pt x="296" y="280"/>
                  </a:cubicBezTo>
                  <a:cubicBezTo>
                    <a:pt x="414" y="161"/>
                    <a:pt x="414" y="161"/>
                    <a:pt x="414" y="161"/>
                  </a:cubicBezTo>
                  <a:cubicBezTo>
                    <a:pt x="421" y="163"/>
                    <a:pt x="427" y="163"/>
                    <a:pt x="433" y="163"/>
                  </a:cubicBezTo>
                  <a:cubicBezTo>
                    <a:pt x="455" y="163"/>
                    <a:pt x="476" y="155"/>
                    <a:pt x="491" y="140"/>
                  </a:cubicBezTo>
                  <a:cubicBezTo>
                    <a:pt x="513" y="118"/>
                    <a:pt x="520" y="87"/>
                    <a:pt x="512" y="58"/>
                  </a:cubicBezTo>
                  <a:cubicBezTo>
                    <a:pt x="511" y="55"/>
                    <a:pt x="509" y="53"/>
                    <a:pt x="506" y="52"/>
                  </a:cubicBezTo>
                  <a:cubicBezTo>
                    <a:pt x="503" y="52"/>
                    <a:pt x="500" y="53"/>
                    <a:pt x="498" y="55"/>
                  </a:cubicBezTo>
                  <a:cubicBezTo>
                    <a:pt x="465" y="88"/>
                    <a:pt x="465" y="88"/>
                    <a:pt x="465" y="88"/>
                  </a:cubicBezTo>
                  <a:cubicBezTo>
                    <a:pt x="435" y="80"/>
                    <a:pt x="435" y="80"/>
                    <a:pt x="435" y="80"/>
                  </a:cubicBezTo>
                  <a:cubicBezTo>
                    <a:pt x="428" y="50"/>
                    <a:pt x="428" y="50"/>
                    <a:pt x="428" y="50"/>
                  </a:cubicBezTo>
                  <a:cubicBezTo>
                    <a:pt x="461" y="17"/>
                    <a:pt x="461" y="17"/>
                    <a:pt x="461" y="17"/>
                  </a:cubicBezTo>
                  <a:cubicBezTo>
                    <a:pt x="463" y="15"/>
                    <a:pt x="463" y="12"/>
                    <a:pt x="463" y="9"/>
                  </a:cubicBezTo>
                  <a:cubicBezTo>
                    <a:pt x="462" y="6"/>
                    <a:pt x="460" y="4"/>
                    <a:pt x="457" y="3"/>
                  </a:cubicBezTo>
                  <a:cubicBezTo>
                    <a:pt x="449" y="1"/>
                    <a:pt x="441" y="0"/>
                    <a:pt x="433" y="0"/>
                  </a:cubicBezTo>
                  <a:cubicBezTo>
                    <a:pt x="411" y="0"/>
                    <a:pt x="391" y="8"/>
                    <a:pt x="376" y="24"/>
                  </a:cubicBezTo>
                  <a:cubicBezTo>
                    <a:pt x="355" y="44"/>
                    <a:pt x="347" y="73"/>
                    <a:pt x="354" y="101"/>
                  </a:cubicBezTo>
                  <a:cubicBezTo>
                    <a:pt x="236" y="219"/>
                    <a:pt x="236" y="219"/>
                    <a:pt x="236" y="219"/>
                  </a:cubicBezTo>
                  <a:cubicBezTo>
                    <a:pt x="123" y="107"/>
                    <a:pt x="123" y="107"/>
                    <a:pt x="123" y="107"/>
                  </a:cubicBezTo>
                  <a:cubicBezTo>
                    <a:pt x="133" y="97"/>
                    <a:pt x="133" y="97"/>
                    <a:pt x="133" y="97"/>
                  </a:cubicBezTo>
                  <a:cubicBezTo>
                    <a:pt x="137" y="93"/>
                    <a:pt x="137" y="88"/>
                    <a:pt x="133" y="85"/>
                  </a:cubicBezTo>
                  <a:cubicBezTo>
                    <a:pt x="56" y="8"/>
                    <a:pt x="56" y="8"/>
                    <a:pt x="56" y="8"/>
                  </a:cubicBezTo>
                  <a:cubicBezTo>
                    <a:pt x="53" y="5"/>
                    <a:pt x="48" y="5"/>
                    <a:pt x="45" y="8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2" y="41"/>
                    <a:pt x="11" y="43"/>
                    <a:pt x="11" y="45"/>
                  </a:cubicBezTo>
                  <a:cubicBezTo>
                    <a:pt x="11" y="47"/>
                    <a:pt x="12" y="50"/>
                    <a:pt x="13" y="51"/>
                  </a:cubicBezTo>
                  <a:cubicBezTo>
                    <a:pt x="90" y="128"/>
                    <a:pt x="90" y="128"/>
                    <a:pt x="90" y="128"/>
                  </a:cubicBezTo>
                  <a:cubicBezTo>
                    <a:pt x="92" y="130"/>
                    <a:pt x="94" y="131"/>
                    <a:pt x="96" y="131"/>
                  </a:cubicBezTo>
                  <a:cubicBezTo>
                    <a:pt x="98" y="131"/>
                    <a:pt x="100" y="130"/>
                    <a:pt x="102" y="128"/>
                  </a:cubicBezTo>
                  <a:cubicBezTo>
                    <a:pt x="112" y="118"/>
                    <a:pt x="112" y="118"/>
                    <a:pt x="112" y="118"/>
                  </a:cubicBezTo>
                  <a:cubicBezTo>
                    <a:pt x="224" y="230"/>
                    <a:pt x="224" y="230"/>
                    <a:pt x="224" y="230"/>
                  </a:cubicBezTo>
                  <a:cubicBezTo>
                    <a:pt x="106" y="349"/>
                    <a:pt x="106" y="349"/>
                    <a:pt x="106" y="349"/>
                  </a:cubicBezTo>
                  <a:cubicBezTo>
                    <a:pt x="100" y="347"/>
                    <a:pt x="93" y="346"/>
                    <a:pt x="87" y="346"/>
                  </a:cubicBezTo>
                  <a:cubicBezTo>
                    <a:pt x="65" y="346"/>
                    <a:pt x="44" y="355"/>
                    <a:pt x="29" y="370"/>
                  </a:cubicBezTo>
                  <a:cubicBezTo>
                    <a:pt x="8" y="392"/>
                    <a:pt x="0" y="423"/>
                    <a:pt x="9" y="452"/>
                  </a:cubicBezTo>
                  <a:cubicBezTo>
                    <a:pt x="9" y="455"/>
                    <a:pt x="12" y="457"/>
                    <a:pt x="14" y="457"/>
                  </a:cubicBezTo>
                  <a:cubicBezTo>
                    <a:pt x="17" y="458"/>
                    <a:pt x="20" y="457"/>
                    <a:pt x="22" y="455"/>
                  </a:cubicBezTo>
                  <a:cubicBezTo>
                    <a:pt x="55" y="422"/>
                    <a:pt x="55" y="422"/>
                    <a:pt x="55" y="422"/>
                  </a:cubicBezTo>
                  <a:cubicBezTo>
                    <a:pt x="85" y="430"/>
                    <a:pt x="85" y="430"/>
                    <a:pt x="85" y="430"/>
                  </a:cubicBezTo>
                  <a:cubicBezTo>
                    <a:pt x="93" y="460"/>
                    <a:pt x="93" y="460"/>
                    <a:pt x="93" y="460"/>
                  </a:cubicBezTo>
                  <a:cubicBezTo>
                    <a:pt x="60" y="493"/>
                    <a:pt x="60" y="493"/>
                    <a:pt x="60" y="493"/>
                  </a:cubicBezTo>
                  <a:cubicBezTo>
                    <a:pt x="58" y="495"/>
                    <a:pt x="57" y="498"/>
                    <a:pt x="58" y="501"/>
                  </a:cubicBezTo>
                  <a:cubicBezTo>
                    <a:pt x="58" y="503"/>
                    <a:pt x="60" y="506"/>
                    <a:pt x="63" y="506"/>
                  </a:cubicBezTo>
                  <a:cubicBezTo>
                    <a:pt x="71" y="509"/>
                    <a:pt x="79" y="510"/>
                    <a:pt x="87" y="510"/>
                  </a:cubicBezTo>
                  <a:cubicBezTo>
                    <a:pt x="109" y="510"/>
                    <a:pt x="129" y="502"/>
                    <a:pt x="145" y="486"/>
                  </a:cubicBezTo>
                  <a:cubicBezTo>
                    <a:pt x="165" y="466"/>
                    <a:pt x="173" y="437"/>
                    <a:pt x="166" y="409"/>
                  </a:cubicBezTo>
                  <a:cubicBezTo>
                    <a:pt x="285" y="291"/>
                    <a:pt x="285" y="291"/>
                    <a:pt x="285" y="291"/>
                  </a:cubicBezTo>
                  <a:cubicBezTo>
                    <a:pt x="331" y="337"/>
                    <a:pt x="331" y="337"/>
                    <a:pt x="331" y="337"/>
                  </a:cubicBezTo>
                  <a:cubicBezTo>
                    <a:pt x="288" y="380"/>
                    <a:pt x="288" y="380"/>
                    <a:pt x="288" y="380"/>
                  </a:cubicBezTo>
                  <a:cubicBezTo>
                    <a:pt x="285" y="383"/>
                    <a:pt x="285" y="388"/>
                    <a:pt x="288" y="391"/>
                  </a:cubicBezTo>
                  <a:cubicBezTo>
                    <a:pt x="289" y="393"/>
                    <a:pt x="291" y="394"/>
                    <a:pt x="293" y="394"/>
                  </a:cubicBezTo>
                  <a:cubicBezTo>
                    <a:pt x="295" y="394"/>
                    <a:pt x="298" y="393"/>
                    <a:pt x="299" y="391"/>
                  </a:cubicBezTo>
                  <a:cubicBezTo>
                    <a:pt x="308" y="382"/>
                    <a:pt x="308" y="382"/>
                    <a:pt x="308" y="382"/>
                  </a:cubicBezTo>
                  <a:cubicBezTo>
                    <a:pt x="412" y="486"/>
                    <a:pt x="412" y="486"/>
                    <a:pt x="412" y="486"/>
                  </a:cubicBezTo>
                  <a:cubicBezTo>
                    <a:pt x="423" y="497"/>
                    <a:pt x="437" y="502"/>
                    <a:pt x="452" y="502"/>
                  </a:cubicBezTo>
                  <a:cubicBezTo>
                    <a:pt x="466" y="502"/>
                    <a:pt x="480" y="497"/>
                    <a:pt x="491" y="486"/>
                  </a:cubicBezTo>
                  <a:cubicBezTo>
                    <a:pt x="502" y="475"/>
                    <a:pt x="508" y="461"/>
                    <a:pt x="508" y="447"/>
                  </a:cubicBezTo>
                  <a:cubicBezTo>
                    <a:pt x="508" y="432"/>
                    <a:pt x="502" y="418"/>
                    <a:pt x="491" y="407"/>
                  </a:cubicBezTo>
                  <a:lnTo>
                    <a:pt x="387" y="303"/>
                  </a:lnTo>
                  <a:close/>
                  <a:moveTo>
                    <a:pt x="96" y="111"/>
                  </a:moveTo>
                  <a:cubicBezTo>
                    <a:pt x="30" y="45"/>
                    <a:pt x="30" y="45"/>
                    <a:pt x="30" y="45"/>
                  </a:cubicBezTo>
                  <a:cubicBezTo>
                    <a:pt x="51" y="25"/>
                    <a:pt x="51" y="25"/>
                    <a:pt x="51" y="25"/>
                  </a:cubicBezTo>
                  <a:cubicBezTo>
                    <a:pt x="116" y="91"/>
                    <a:pt x="116" y="91"/>
                    <a:pt x="116" y="91"/>
                  </a:cubicBezTo>
                  <a:lnTo>
                    <a:pt x="96" y="111"/>
                  </a:lnTo>
                  <a:close/>
                  <a:moveTo>
                    <a:pt x="150" y="409"/>
                  </a:moveTo>
                  <a:cubicBezTo>
                    <a:pt x="157" y="432"/>
                    <a:pt x="151" y="458"/>
                    <a:pt x="133" y="475"/>
                  </a:cubicBezTo>
                  <a:cubicBezTo>
                    <a:pt x="121" y="487"/>
                    <a:pt x="104" y="494"/>
                    <a:pt x="87" y="494"/>
                  </a:cubicBezTo>
                  <a:cubicBezTo>
                    <a:pt x="85" y="494"/>
                    <a:pt x="83" y="494"/>
                    <a:pt x="82" y="494"/>
                  </a:cubicBezTo>
                  <a:cubicBezTo>
                    <a:pt x="107" y="468"/>
                    <a:pt x="107" y="468"/>
                    <a:pt x="107" y="468"/>
                  </a:cubicBezTo>
                  <a:cubicBezTo>
                    <a:pt x="109" y="466"/>
                    <a:pt x="110" y="463"/>
                    <a:pt x="109" y="461"/>
                  </a:cubicBezTo>
                  <a:cubicBezTo>
                    <a:pt x="99" y="421"/>
                    <a:pt x="99" y="421"/>
                    <a:pt x="99" y="421"/>
                  </a:cubicBezTo>
                  <a:cubicBezTo>
                    <a:pt x="99" y="419"/>
                    <a:pt x="96" y="416"/>
                    <a:pt x="94" y="416"/>
                  </a:cubicBezTo>
                  <a:cubicBezTo>
                    <a:pt x="54" y="406"/>
                    <a:pt x="54" y="406"/>
                    <a:pt x="54" y="406"/>
                  </a:cubicBezTo>
                  <a:cubicBezTo>
                    <a:pt x="52" y="405"/>
                    <a:pt x="49" y="406"/>
                    <a:pt x="47" y="408"/>
                  </a:cubicBezTo>
                  <a:cubicBezTo>
                    <a:pt x="21" y="433"/>
                    <a:pt x="21" y="433"/>
                    <a:pt x="21" y="433"/>
                  </a:cubicBezTo>
                  <a:cubicBezTo>
                    <a:pt x="20" y="414"/>
                    <a:pt x="27" y="395"/>
                    <a:pt x="40" y="382"/>
                  </a:cubicBezTo>
                  <a:cubicBezTo>
                    <a:pt x="53" y="369"/>
                    <a:pt x="69" y="362"/>
                    <a:pt x="87" y="362"/>
                  </a:cubicBezTo>
                  <a:cubicBezTo>
                    <a:pt x="93" y="362"/>
                    <a:pt x="100" y="363"/>
                    <a:pt x="106" y="365"/>
                  </a:cubicBezTo>
                  <a:cubicBezTo>
                    <a:pt x="109" y="366"/>
                    <a:pt x="112" y="365"/>
                    <a:pt x="114" y="363"/>
                  </a:cubicBezTo>
                  <a:cubicBezTo>
                    <a:pt x="368" y="109"/>
                    <a:pt x="368" y="109"/>
                    <a:pt x="368" y="109"/>
                  </a:cubicBezTo>
                  <a:cubicBezTo>
                    <a:pt x="371" y="107"/>
                    <a:pt x="371" y="104"/>
                    <a:pt x="370" y="101"/>
                  </a:cubicBezTo>
                  <a:cubicBezTo>
                    <a:pt x="363" y="78"/>
                    <a:pt x="370" y="52"/>
                    <a:pt x="387" y="35"/>
                  </a:cubicBezTo>
                  <a:cubicBezTo>
                    <a:pt x="399" y="23"/>
                    <a:pt x="416" y="16"/>
                    <a:pt x="433" y="16"/>
                  </a:cubicBezTo>
                  <a:cubicBezTo>
                    <a:pt x="435" y="16"/>
                    <a:pt x="437" y="16"/>
                    <a:pt x="439" y="16"/>
                  </a:cubicBezTo>
                  <a:cubicBezTo>
                    <a:pt x="413" y="42"/>
                    <a:pt x="413" y="42"/>
                    <a:pt x="413" y="42"/>
                  </a:cubicBezTo>
                  <a:cubicBezTo>
                    <a:pt x="411" y="44"/>
                    <a:pt x="410" y="47"/>
                    <a:pt x="411" y="49"/>
                  </a:cubicBezTo>
                  <a:cubicBezTo>
                    <a:pt x="421" y="88"/>
                    <a:pt x="421" y="88"/>
                    <a:pt x="421" y="88"/>
                  </a:cubicBezTo>
                  <a:cubicBezTo>
                    <a:pt x="421" y="91"/>
                    <a:pt x="424" y="94"/>
                    <a:pt x="427" y="94"/>
                  </a:cubicBezTo>
                  <a:cubicBezTo>
                    <a:pt x="466" y="104"/>
                    <a:pt x="466" y="104"/>
                    <a:pt x="466" y="104"/>
                  </a:cubicBezTo>
                  <a:cubicBezTo>
                    <a:pt x="469" y="105"/>
                    <a:pt x="471" y="104"/>
                    <a:pt x="473" y="102"/>
                  </a:cubicBezTo>
                  <a:cubicBezTo>
                    <a:pt x="499" y="76"/>
                    <a:pt x="499" y="76"/>
                    <a:pt x="499" y="76"/>
                  </a:cubicBezTo>
                  <a:cubicBezTo>
                    <a:pt x="500" y="95"/>
                    <a:pt x="494" y="114"/>
                    <a:pt x="480" y="128"/>
                  </a:cubicBezTo>
                  <a:cubicBezTo>
                    <a:pt x="467" y="141"/>
                    <a:pt x="451" y="147"/>
                    <a:pt x="433" y="147"/>
                  </a:cubicBezTo>
                  <a:cubicBezTo>
                    <a:pt x="427" y="147"/>
                    <a:pt x="420" y="147"/>
                    <a:pt x="414" y="145"/>
                  </a:cubicBezTo>
                  <a:cubicBezTo>
                    <a:pt x="411" y="144"/>
                    <a:pt x="408" y="145"/>
                    <a:pt x="406" y="147"/>
                  </a:cubicBezTo>
                  <a:cubicBezTo>
                    <a:pt x="152" y="401"/>
                    <a:pt x="152" y="401"/>
                    <a:pt x="152" y="401"/>
                  </a:cubicBezTo>
                  <a:cubicBezTo>
                    <a:pt x="150" y="403"/>
                    <a:pt x="149" y="406"/>
                    <a:pt x="150" y="409"/>
                  </a:cubicBezTo>
                  <a:close/>
                  <a:moveTo>
                    <a:pt x="480" y="475"/>
                  </a:moveTo>
                  <a:cubicBezTo>
                    <a:pt x="464" y="490"/>
                    <a:pt x="439" y="490"/>
                    <a:pt x="424" y="475"/>
                  </a:cubicBezTo>
                  <a:cubicBezTo>
                    <a:pt x="320" y="371"/>
                    <a:pt x="320" y="371"/>
                    <a:pt x="320" y="371"/>
                  </a:cubicBezTo>
                  <a:cubicBezTo>
                    <a:pt x="376" y="314"/>
                    <a:pt x="376" y="314"/>
                    <a:pt x="376" y="314"/>
                  </a:cubicBezTo>
                  <a:cubicBezTo>
                    <a:pt x="480" y="418"/>
                    <a:pt x="480" y="418"/>
                    <a:pt x="480" y="418"/>
                  </a:cubicBezTo>
                  <a:cubicBezTo>
                    <a:pt x="487" y="426"/>
                    <a:pt x="492" y="436"/>
                    <a:pt x="492" y="447"/>
                  </a:cubicBezTo>
                  <a:cubicBezTo>
                    <a:pt x="492" y="457"/>
                    <a:pt x="487" y="467"/>
                    <a:pt x="480" y="475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b="1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08258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 smtClean="0"/>
          </a:p>
        </p:txBody>
      </p:sp>
      <p:pic>
        <p:nvPicPr>
          <p:cNvPr id="2" name="37261592-4909-45E5-9171-743159721363" descr="37261592-4909-45E5-9171-74315972136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4513" y="648226"/>
            <a:ext cx="7422978" cy="544507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/>
        </p:spPr>
      </p:pic>
    </p:spTree>
    <p:extLst>
      <p:ext uri="{BB962C8B-B14F-4D97-AF65-F5344CB8AC3E}">
        <p14:creationId xmlns:p14="http://schemas.microsoft.com/office/powerpoint/2010/main" val="3870730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 smtClean="0"/>
          </a:p>
        </p:txBody>
      </p:sp>
      <p:pic>
        <p:nvPicPr>
          <p:cNvPr id="4" name="Picture 2" descr="Bildergebnis für siemens BS2000 1975">
            <a:hlinkClick r:id="rId3"/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4" r="3138"/>
          <a:stretch/>
        </p:blipFill>
        <p:spPr bwMode="auto">
          <a:xfrm>
            <a:off x="2105638" y="1803698"/>
            <a:ext cx="8022811" cy="289712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678945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 smtClean="0"/>
              <a:t>Titel der Präsentation | Name Referent | Marketing-Unterlage | TT.MM.JJJJ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6429F-8EBA-4254-B9C8-295228AFE7F1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 smtClean="0"/>
          </a:p>
        </p:txBody>
      </p:sp>
      <p:pic>
        <p:nvPicPr>
          <p:cNvPr id="104450" name="Picture 2" descr="Ähnliches Foto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4662" y="519112"/>
            <a:ext cx="6162675" cy="5819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136123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 smtClean="0"/>
          </a:p>
        </p:txBody>
      </p:sp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2476169"/>
              </p:ext>
            </p:extLst>
          </p:nvPr>
        </p:nvGraphicFramePr>
        <p:xfrm>
          <a:off x="1991544" y="1124744"/>
          <a:ext cx="8208964" cy="53292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5" name="Macro-Enabled Worksheet" r:id="rId4" imgW="9963043" imgH="6467543" progId="Excel.SheetMacroEnabled.12">
                  <p:link/>
                </p:oleObj>
              </mc:Choice>
              <mc:Fallback>
                <p:oleObj name="Macro-Enabled Worksheet" r:id="rId4" imgW="9963043" imgH="6467543" progId="Excel.SheetMacroEnabled.12">
                  <p:link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91544" y="1124744"/>
                        <a:ext cx="8208964" cy="53292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feld 2"/>
          <p:cNvSpPr txBox="1"/>
          <p:nvPr/>
        </p:nvSpPr>
        <p:spPr>
          <a:xfrm>
            <a:off x="0" y="311825"/>
            <a:ext cx="12192000" cy="59689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4000"/>
              </a:lnSpc>
              <a:spcBef>
                <a:spcPts val="600"/>
              </a:spcBef>
            </a:pPr>
            <a:r>
              <a:rPr lang="de-DE" sz="4000" dirty="0" smtClean="0">
                <a:solidFill>
                  <a:schemeClr val="accent2"/>
                </a:solidFill>
              </a:rPr>
              <a:t>Verfügbarkeit der Arbeitsplätze</a:t>
            </a:r>
          </a:p>
        </p:txBody>
      </p:sp>
      <p:sp>
        <p:nvSpPr>
          <p:cNvPr id="6" name="Rechteck 5"/>
          <p:cNvSpPr/>
          <p:nvPr/>
        </p:nvSpPr>
        <p:spPr>
          <a:xfrm>
            <a:off x="5971607" y="3244334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 </a:t>
            </a:r>
          </a:p>
        </p:txBody>
      </p:sp>
      <p:sp>
        <p:nvSpPr>
          <p:cNvPr id="7" name="Rechteck 6"/>
          <p:cNvSpPr/>
          <p:nvPr/>
        </p:nvSpPr>
        <p:spPr>
          <a:xfrm>
            <a:off x="1991544" y="2276872"/>
            <a:ext cx="8208912" cy="21602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1387692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 smtClean="0"/>
          </a:p>
        </p:txBody>
      </p:sp>
      <p:sp>
        <p:nvSpPr>
          <p:cNvPr id="3" name="Textfeld 2"/>
          <p:cNvSpPr txBox="1"/>
          <p:nvPr/>
        </p:nvSpPr>
        <p:spPr>
          <a:xfrm>
            <a:off x="0" y="1988841"/>
            <a:ext cx="12192000" cy="18405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4000"/>
              </a:lnSpc>
              <a:spcBef>
                <a:spcPts val="600"/>
              </a:spcBef>
            </a:pPr>
            <a:r>
              <a:rPr lang="de-DE" sz="11500" dirty="0">
                <a:solidFill>
                  <a:schemeClr val="accent2"/>
                </a:solidFill>
              </a:rPr>
              <a:t>14.800</a:t>
            </a:r>
            <a:endParaRPr lang="de-DE" sz="11500" dirty="0" smtClean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687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 smtClean="0"/>
          </a:p>
        </p:txBody>
      </p:sp>
      <p:sp>
        <p:nvSpPr>
          <p:cNvPr id="3" name="Textfeld 2"/>
          <p:cNvSpPr txBox="1"/>
          <p:nvPr/>
        </p:nvSpPr>
        <p:spPr>
          <a:xfrm>
            <a:off x="0" y="1988841"/>
            <a:ext cx="12192000" cy="184050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4000"/>
              </a:lnSpc>
              <a:spcBef>
                <a:spcPts val="600"/>
              </a:spcBef>
            </a:pPr>
            <a:r>
              <a:rPr lang="de-DE" sz="11500" dirty="0" smtClean="0">
                <a:solidFill>
                  <a:schemeClr val="accent2"/>
                </a:solidFill>
              </a:rPr>
              <a:t>2.190</a:t>
            </a:r>
          </a:p>
        </p:txBody>
      </p:sp>
    </p:spTree>
    <p:extLst>
      <p:ext uri="{BB962C8B-B14F-4D97-AF65-F5344CB8AC3E}">
        <p14:creationId xmlns:p14="http://schemas.microsoft.com/office/powerpoint/2010/main" val="3431016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 smtClean="0"/>
          </a:p>
        </p:txBody>
      </p:sp>
      <p:pic>
        <p:nvPicPr>
          <p:cNvPr id="105474" name="Picture 2" descr="Bildergebnis für facebook logo">
            <a:hlinkClick r:id="rId3"/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3832" y="1916832"/>
            <a:ext cx="3024335" cy="302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7562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 smtClean="0"/>
          </a:p>
        </p:txBody>
      </p:sp>
      <p:sp>
        <p:nvSpPr>
          <p:cNvPr id="4" name="Titel 1"/>
          <p:cNvSpPr txBox="1">
            <a:spLocks/>
          </p:cNvSpPr>
          <p:nvPr/>
        </p:nvSpPr>
        <p:spPr>
          <a:xfrm>
            <a:off x="695400" y="404664"/>
            <a:ext cx="10939944" cy="67508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ts val="2970"/>
              </a:lnSpc>
              <a:spcBef>
                <a:spcPct val="0"/>
              </a:spcBef>
              <a:buNone/>
              <a:defRPr sz="2700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de-DE" b="1" dirty="0"/>
          </a:p>
        </p:txBody>
      </p:sp>
      <p:sp>
        <p:nvSpPr>
          <p:cNvPr id="5" name="Textfeld 4"/>
          <p:cNvSpPr txBox="1"/>
          <p:nvPr/>
        </p:nvSpPr>
        <p:spPr>
          <a:xfrm>
            <a:off x="701322" y="4571836"/>
            <a:ext cx="2946405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/>
            <a:r>
              <a:rPr lang="de-DE" sz="2400" b="1" dirty="0" smtClean="0">
                <a:solidFill>
                  <a:schemeClr val="accent2"/>
                </a:solidFill>
              </a:rPr>
              <a:t>Agentur+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4462551" y="4571501"/>
            <a:ext cx="308191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/>
            <a:r>
              <a:rPr lang="de-DE" sz="2400" b="1" dirty="0" smtClean="0">
                <a:solidFill>
                  <a:schemeClr val="accent2"/>
                </a:solidFill>
              </a:rPr>
              <a:t>Digitale Vergütung</a:t>
            </a:r>
          </a:p>
        </p:txBody>
      </p:sp>
      <p:pic>
        <p:nvPicPr>
          <p:cNvPr id="7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481" y="1758001"/>
            <a:ext cx="3073544" cy="26412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7324" y="1758001"/>
            <a:ext cx="3312368" cy="2600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9736" y="1763144"/>
            <a:ext cx="4024410" cy="1948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8328248" y="4571836"/>
            <a:ext cx="3384376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70000" indent="-270000" algn="ctr"/>
            <a:r>
              <a:rPr lang="de-DE" sz="2400" b="1" dirty="0" smtClean="0">
                <a:solidFill>
                  <a:schemeClr val="accent2"/>
                </a:solidFill>
              </a:rPr>
              <a:t>Business Report Plus </a:t>
            </a:r>
          </a:p>
        </p:txBody>
      </p:sp>
    </p:spTree>
    <p:extLst>
      <p:ext uri="{BB962C8B-B14F-4D97-AF65-F5344CB8AC3E}">
        <p14:creationId xmlns:p14="http://schemas.microsoft.com/office/powerpoint/2010/main" val="1183608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OPU.LtRMezKO1f1IGZ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iG8bXQQZiz4j9r55cd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p8Zvz_TE.qLmHENok2A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KPt0PNSsa3f1WY1GHcw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heme/theme1.xml><?xml version="1.0" encoding="utf-8"?>
<a:theme xmlns:a="http://schemas.openxmlformats.org/drawingml/2006/main" name="hdi_ppt-master_16x9_de">
  <a:themeElements>
    <a:clrScheme name="HDI_2019">
      <a:dk1>
        <a:sysClr val="windowText" lastClr="000000"/>
      </a:dk1>
      <a:lt1>
        <a:sysClr val="window" lastClr="FFFFFF"/>
      </a:lt1>
      <a:dk2>
        <a:srgbClr val="DB6301"/>
      </a:dk2>
      <a:lt2>
        <a:srgbClr val="E60018"/>
      </a:lt2>
      <a:accent1>
        <a:srgbClr val="006729"/>
      </a:accent1>
      <a:accent2>
        <a:srgbClr val="79B530"/>
      </a:accent2>
      <a:accent3>
        <a:srgbClr val="00B1B7"/>
      </a:accent3>
      <a:accent4>
        <a:srgbClr val="003960"/>
      </a:accent4>
      <a:accent5>
        <a:srgbClr val="8D1429"/>
      </a:accent5>
      <a:accent6>
        <a:srgbClr val="6C6F70"/>
      </a:accent6>
      <a:hlink>
        <a:srgbClr val="006729"/>
      </a:hlink>
      <a:folHlink>
        <a:srgbClr val="6C6F70"/>
      </a:folHlink>
    </a:clrScheme>
    <a:fontScheme name="Benutzerdefiniert 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34000" indent="-234000" algn="l">
          <a:lnSpc>
            <a:spcPct val="104000"/>
          </a:lnSpc>
          <a:spcBef>
            <a:spcPts val="600"/>
          </a:spcBef>
          <a:buFont typeface="Wingdings" panose="05000000000000000000" pitchFamily="2" charset="2"/>
          <a:buChar char="§"/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234000" indent="-234000">
          <a:lnSpc>
            <a:spcPct val="104000"/>
          </a:lnSpc>
          <a:spcBef>
            <a:spcPts val="600"/>
          </a:spcBef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9900"/>
    </a:custClr>
    <a:custClr>
      <a:srgbClr val="B7D389"/>
    </a:custClr>
    <a:custClr>
      <a:srgbClr val="98D2D4"/>
    </a:custClr>
    <a:custClr>
      <a:srgbClr val="587394"/>
    </a:custClr>
    <a:custClr>
      <a:srgbClr val="B56D64"/>
    </a:custClr>
    <a:custClr>
      <a:srgbClr val="9D9D9C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DDEAC7"/>
    </a:custClr>
    <a:custClr>
      <a:srgbClr val="D0EAEA"/>
    </a:custClr>
    <a:custClr>
      <a:srgbClr val="A8B3C6"/>
    </a:custClr>
    <a:custClr>
      <a:srgbClr val="D8B4AC"/>
    </a:custClr>
    <a:custClr>
      <a:srgbClr val="C6C7C8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E1E4EB"/>
    </a:custClr>
    <a:custClr>
      <a:srgbClr val="F2E5E2"/>
    </a:custClr>
    <a:custClr>
      <a:srgbClr val="FFFFFF"/>
    </a:custClr>
  </a:custClrLst>
  <a:extLst>
    <a:ext uri="{05A4C25C-085E-4340-85A3-A5531E510DB2}">
      <thm15:themeFamily xmlns:thm15="http://schemas.microsoft.com/office/thememl/2012/main" xmlns="" name="HDI_Master_16zu9_DE_scr02.potx" id="{A1FDAC06-F23E-4350-AE77-169889166764}" vid="{7DCB9A77-3739-4C38-9F67-B8310B802609}"/>
    </a:ext>
  </a:extLst>
</a:theme>
</file>

<file path=ppt/theme/theme2.xml><?xml version="1.0" encoding="utf-8"?>
<a:theme xmlns:a="http://schemas.openxmlformats.org/drawingml/2006/main" name="Office">
  <a:themeElements>
    <a:clrScheme name="HDI_2019">
      <a:dk1>
        <a:sysClr val="windowText" lastClr="000000"/>
      </a:dk1>
      <a:lt1>
        <a:sysClr val="window" lastClr="FFFFFF"/>
      </a:lt1>
      <a:dk2>
        <a:srgbClr val="DB6301"/>
      </a:dk2>
      <a:lt2>
        <a:srgbClr val="E60018"/>
      </a:lt2>
      <a:accent1>
        <a:srgbClr val="006729"/>
      </a:accent1>
      <a:accent2>
        <a:srgbClr val="79B530"/>
      </a:accent2>
      <a:accent3>
        <a:srgbClr val="00B1B7"/>
      </a:accent3>
      <a:accent4>
        <a:srgbClr val="003960"/>
      </a:accent4>
      <a:accent5>
        <a:srgbClr val="8D1429"/>
      </a:accent5>
      <a:accent6>
        <a:srgbClr val="6C6F70"/>
      </a:accent6>
      <a:hlink>
        <a:srgbClr val="006729"/>
      </a:hlink>
      <a:folHlink>
        <a:srgbClr val="6C6F70"/>
      </a:folHlink>
    </a:clrScheme>
    <a:fontScheme name="HDI_2019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HDI_2019">
      <a:dk1>
        <a:sysClr val="windowText" lastClr="000000"/>
      </a:dk1>
      <a:lt1>
        <a:sysClr val="window" lastClr="FFFFFF"/>
      </a:lt1>
      <a:dk2>
        <a:srgbClr val="DB6301"/>
      </a:dk2>
      <a:lt2>
        <a:srgbClr val="E60018"/>
      </a:lt2>
      <a:accent1>
        <a:srgbClr val="006729"/>
      </a:accent1>
      <a:accent2>
        <a:srgbClr val="79B530"/>
      </a:accent2>
      <a:accent3>
        <a:srgbClr val="00B1B7"/>
      </a:accent3>
      <a:accent4>
        <a:srgbClr val="003960"/>
      </a:accent4>
      <a:accent5>
        <a:srgbClr val="8D1429"/>
      </a:accent5>
      <a:accent6>
        <a:srgbClr val="6C6F70"/>
      </a:accent6>
      <a:hlink>
        <a:srgbClr val="006729"/>
      </a:hlink>
      <a:folHlink>
        <a:srgbClr val="6C6F70"/>
      </a:folHlink>
    </a:clrScheme>
    <a:fontScheme name="HDI_2019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di_ppt-master_16x9_de</Template>
  <TotalTime>0</TotalTime>
  <Words>427</Words>
  <Application>Microsoft Office PowerPoint</Application>
  <PresentationFormat>Benutzerdefiniert</PresentationFormat>
  <Paragraphs>68</Paragraphs>
  <Slides>11</Slides>
  <Notes>10</Notes>
  <HiddenSlides>0</HiddenSlides>
  <MMClips>0</MMClips>
  <ScaleCrop>false</ScaleCrop>
  <HeadingPairs>
    <vt:vector size="8" baseType="variant">
      <vt:variant>
        <vt:lpstr>Design</vt:lpstr>
      </vt:variant>
      <vt:variant>
        <vt:i4>1</vt:i4>
      </vt:variant>
      <vt:variant>
        <vt:lpstr>Verknüpfunge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14" baseType="lpstr">
      <vt:lpstr>hdi_ppt-master_16x9_de</vt:lpstr>
      <vt:lpstr>https://workspaces.hdires.zz/sites/TaSys_CH_Mgmt/Dokumente/Reports/Auswertung%20zu%20Incidents%20Prio%201u2/Services%20zu%20AP_Typen_Monate.xlsm!Jahresverfügbarkeit%20Forecast!Z2S2:Z33S17</vt:lpstr>
      <vt:lpstr>think-cell Folie</vt:lpstr>
      <vt:lpstr>Jahreshauptversammlung der USH 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Manager>Name</Manager>
  <Company>Talanx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latzhalter für den Präsentationstitel,  maximal vierzeilig</dc:title>
  <dc:subject>PowerPoint Vorlage</dc:subject>
  <dc:creator>Botzkowski, Tim</dc:creator>
  <dc:description>Für PowerPoint 2010 optimierte Vorlage</dc:description>
  <cp:lastModifiedBy>Lange, Michael</cp:lastModifiedBy>
  <cp:revision>61</cp:revision>
  <cp:lastPrinted>2018-12-14T15:00:19Z</cp:lastPrinted>
  <dcterms:created xsi:type="dcterms:W3CDTF">2019-01-06T13:38:29Z</dcterms:created>
  <dcterms:modified xsi:type="dcterms:W3CDTF">2019-03-19T16:49:34Z</dcterms:modified>
</cp:coreProperties>
</file>